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3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3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4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5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6.xml" ContentType="application/vnd.openxmlformats-officedocument.presentationml.notesSlide+xml"/>
  <Override PartName="/ppt/comments/modernComment_100_0.xml" ContentType="application/vnd.ms-powerpoint.comments+xml"/>
  <Override PartName="/ppt/tags/tag118.xml" ContentType="application/vnd.openxmlformats-officedocument.presentationml.tags+xml"/>
  <Override PartName="/ppt/notesSlides/notesSlide7.xml" ContentType="application/vnd.openxmlformats-officedocument.presentationml.notesSlide+xml"/>
  <Override PartName="/ppt/comments/modernComment_1D1_3ADE8D1C.xml" ContentType="application/vnd.ms-powerpoint.comment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>
  <p:sldMasterIdLst>
    <p:sldMasterId id="2147483648" r:id="rId1"/>
    <p:sldMasterId id="2147483791" r:id="rId2"/>
    <p:sldMasterId id="2147483844" r:id="rId3"/>
  </p:sldMasterIdLst>
  <p:notesMasterIdLst>
    <p:notesMasterId r:id="rId53"/>
  </p:notesMasterIdLst>
  <p:handoutMasterIdLst>
    <p:handoutMasterId r:id="rId54"/>
  </p:handoutMasterIdLst>
  <p:sldIdLst>
    <p:sldId id="1480" r:id="rId4"/>
    <p:sldId id="1419" r:id="rId5"/>
    <p:sldId id="1501" r:id="rId6"/>
    <p:sldId id="1351" r:id="rId7"/>
    <p:sldId id="1349" r:id="rId8"/>
    <p:sldId id="1388" r:id="rId9"/>
    <p:sldId id="1389" r:id="rId10"/>
    <p:sldId id="1390" r:id="rId11"/>
    <p:sldId id="1414" r:id="rId12"/>
    <p:sldId id="1417" r:id="rId13"/>
    <p:sldId id="1446" r:id="rId14"/>
    <p:sldId id="1500" r:id="rId15"/>
    <p:sldId id="1423" r:id="rId16"/>
    <p:sldId id="1425" r:id="rId17"/>
    <p:sldId id="1426" r:id="rId18"/>
    <p:sldId id="1481" r:id="rId19"/>
    <p:sldId id="1482" r:id="rId20"/>
    <p:sldId id="1483" r:id="rId21"/>
    <p:sldId id="1484" r:id="rId22"/>
    <p:sldId id="1485" r:id="rId23"/>
    <p:sldId id="1486" r:id="rId24"/>
    <p:sldId id="1487" r:id="rId25"/>
    <p:sldId id="1459" r:id="rId26"/>
    <p:sldId id="1488" r:id="rId27"/>
    <p:sldId id="1489" r:id="rId28"/>
    <p:sldId id="1462" r:id="rId29"/>
    <p:sldId id="1463" r:id="rId30"/>
    <p:sldId id="1469" r:id="rId31"/>
    <p:sldId id="1464" r:id="rId32"/>
    <p:sldId id="1465" r:id="rId33"/>
    <p:sldId id="1466" r:id="rId34"/>
    <p:sldId id="1467" r:id="rId35"/>
    <p:sldId id="1470" r:id="rId36"/>
    <p:sldId id="1468" r:id="rId37"/>
    <p:sldId id="1490" r:id="rId38"/>
    <p:sldId id="1491" r:id="rId39"/>
    <p:sldId id="1492" r:id="rId40"/>
    <p:sldId id="1493" r:id="rId41"/>
    <p:sldId id="1494" r:id="rId42"/>
    <p:sldId id="1495" r:id="rId43"/>
    <p:sldId id="1496" r:id="rId44"/>
    <p:sldId id="1497" r:id="rId45"/>
    <p:sldId id="1498" r:id="rId46"/>
    <p:sldId id="1435" r:id="rId47"/>
    <p:sldId id="467" r:id="rId48"/>
    <p:sldId id="256" r:id="rId49"/>
    <p:sldId id="465" r:id="rId50"/>
    <p:sldId id="469" r:id="rId51"/>
    <p:sldId id="1338" r:id="rId52"/>
  </p:sldIdLst>
  <p:sldSz cx="12192000" cy="6858000"/>
  <p:notesSz cx="6858000" cy="9144000"/>
  <p:custDataLst>
    <p:tags r:id="rId55"/>
  </p:custDataLst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2" orient="horz" pos="2183" userDrawn="1">
          <p15:clr>
            <a:srgbClr val="A4A3A4"/>
          </p15:clr>
        </p15:guide>
        <p15:guide id="3" pos="4520" userDrawn="1">
          <p15:clr>
            <a:srgbClr val="A4A3A4"/>
          </p15:clr>
        </p15:guide>
        <p15:guide id="4" pos="5586" userDrawn="1">
          <p15:clr>
            <a:srgbClr val="A4A3A4"/>
          </p15:clr>
        </p15:guide>
        <p15:guide id="5" pos="2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FE85E-9033-746C-9255-39B1DB9CD116}" name="Celis Antilef, Nelson Damián" initials="CD" userId="S::ndcelisa@achs.cl::2d4d2769-a099-4f5b-b674-39eacc1e8e89" providerId="AD"/>
  <p188:author id="{E4F48593-C84E-83B8-3E03-AA2839BD61D1}" name="Larenas Molina, Karen Fernanda" initials="LF" userId="S::kflarenasm@achs.cl::5d93ec89-2368-4865-81db-a24f69fdb0ae" providerId="AD"/>
  <p188:author id="{86F58BB9-FF38-94D7-2CA9-E03963FB37EA}" name="Parra Salas, Janina Del Carmen" initials="PC" userId="S::jparras@achs.cl::f8793b0f-d42d-4d48-ae08-dc693f200b5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López" initials="FL" lastIdx="1" clrIdx="0">
    <p:extLst>
      <p:ext uri="{19B8F6BF-5375-455C-9EA6-DF929625EA0E}">
        <p15:presenceInfo xmlns:p15="http://schemas.microsoft.com/office/powerpoint/2012/main" userId="c583e4eeb9a72cae" providerId="Windows Live"/>
      </p:ext>
    </p:extLst>
  </p:cmAuthor>
  <p:cmAuthor id="2" name="Labus Seric, Aneta" initials="LSA" lastIdx="13" clrIdx="1">
    <p:extLst>
      <p:ext uri="{19B8F6BF-5375-455C-9EA6-DF929625EA0E}">
        <p15:presenceInfo xmlns:p15="http://schemas.microsoft.com/office/powerpoint/2012/main" userId="S::alabuss@achs.cl::3e6a394c-38a0-4673-baac-c345465d03a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6737"/>
    <a:srgbClr val="007A33"/>
    <a:srgbClr val="1E117C"/>
    <a:srgbClr val="004F59"/>
    <a:srgbClr val="5F5F5F"/>
    <a:srgbClr val="616161"/>
    <a:srgbClr val="8A8A8A"/>
    <a:srgbClr val="C98539"/>
    <a:srgbClr val="F2E500"/>
    <a:srgbClr val="ECC3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C76A0C-7066-E823-12E5-C848E6FBD17A}" v="4" dt="2025-08-04T19:07:56.695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6"/>
      </p:cViewPr>
      <p:guideLst>
        <p:guide orient="horz" pos="2183"/>
        <p:guide pos="4520"/>
        <p:guide pos="5586"/>
        <p:guide pos="207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notesMaster" Target="notesMasters/notesMaster1.xml"/><Relationship Id="rId58" Type="http://schemas.openxmlformats.org/officeDocument/2006/relationships/viewProps" Target="viewProps.xml"/><Relationship Id="rId5" Type="http://schemas.openxmlformats.org/officeDocument/2006/relationships/slide" Target="slides/slide2.xml"/><Relationship Id="rId61" Type="http://schemas.microsoft.com/office/2015/10/relationships/revisionInfo" Target="revisionInfo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commentAuthors" Target="commentAuthor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theme" Target="theme/theme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handoutMaster" Target="handoutMasters/handoutMaster1.xml"/><Relationship Id="rId62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presProps" Target="presProp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/Relationships>
</file>

<file path=ppt/comments/modernComment_100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BA94F09-AB5A-49E8-9147-8F351642AEA1}" authorId="{E4F48593-C84E-83B8-3E03-AA2839BD61D1}" created="2025-06-09T12:43:12.33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56"/>
      <ac:graphicFrameMk id="5" creationId="{EAB1C2DB-884E-2D7B-07D4-DAFEDC07FD8C}"/>
    </ac:deMkLst>
    <p188:replyLst>
      <p188:reply id="{9C620179-F507-4191-8B7B-0091A8E0DF54}" authorId="{86F58BB9-FF38-94D7-2CA9-E03963FB37EA}" created="2025-06-24T21:49:44.574">
        <p188:txBody>
          <a:bodyPr/>
          <a:lstStyle/>
          <a:p>
            <a:r>
              <a:rPr lang="es-ES"/>
              <a:t>[@Celis Antilef, Nelson Damián] [@Larenas Molina, Karen Fernanda] chiquillos ya corregí los errores de ortografía porsi.</a:t>
            </a:r>
          </a:p>
        </p188:txBody>
      </p188:reply>
    </p188:replyLst>
    <p188:txBody>
      <a:bodyPr/>
      <a:lstStyle/>
      <a:p>
        <a:r>
          <a:rPr lang="es-CL"/>
          <a:t>[@Celis Antilef, Nelson Damián]  cambie el cuadro, si puedes modificar lo que sea necesario. Genial!</a:t>
        </a:r>
      </a:p>
    </p188:txBody>
  </p188:cm>
</p188:cmLst>
</file>

<file path=ppt/comments/modernComment_1D1_3ADE8D1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AE9ED27-EADF-442E-BBCD-FAC84EA4396E}" authorId="{E4F48593-C84E-83B8-3E03-AA2839BD61D1}" created="2025-05-29T18:26:56.729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987663644" sldId="465"/>
      <ac:spMk id="27" creationId="{00000000-0000-0000-0000-000000000000}"/>
    </ac:deMkLst>
    <p188:replyLst>
      <p188:reply id="{8AE8B11D-82F3-421C-8637-F3D8C9CF1CFF}" authorId="{70AFE85E-9033-746C-9255-39B1DB9CD116}" created="2025-06-10T22:08:20.970">
        <p188:txBody>
          <a:bodyPr/>
          <a:lstStyle/>
          <a:p>
            <a:r>
              <a:rPr lang="es-ES"/>
              <a:t>[@Larenas Molina, Karen Fernanda]  acá lo confirmare con pepo, para ver que es lo que realmente necesita para las cuotas, ya que esta info es antigua, ahora creo que son menos requisitos</a:t>
            </a:r>
          </a:p>
        </p188:txBody>
      </p188:reply>
      <p188:reply id="{57C093ED-CE28-4F7E-BD92-51A144ABD236}" authorId="{70AFE85E-9033-746C-9255-39B1DB9CD116}" created="2025-06-10T22:09:11.253">
        <p188:txBody>
          <a:bodyPr/>
          <a:lstStyle/>
          <a:p>
            <a:r>
              <a:rPr lang="es-ES"/>
              <a:t>pero la PPT en si, esta super.. solo es actualizar si aun se requiere VB por ejemplo.</a:t>
            </a:r>
          </a:p>
        </p188:txBody>
      </p188:reply>
    </p188:replyLst>
    <p188:txBody>
      <a:bodyPr/>
      <a:lstStyle/>
      <a:p>
        <a:r>
          <a:rPr lang="es-CL"/>
          <a:t>[@Celis Antilef, Nelson Damián] esta bien esta diapo, cambiamos algo??
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CA1C8ED-C439-4F36-86CB-FB57D13522DC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BDEAC7CD-A764-4822-AE6D-32826BD64A7E}">
      <dgm:prSet phldrT="[Texto]" custT="1"/>
      <dgm:spPr>
        <a:solidFill>
          <a:schemeClr val="accent2"/>
        </a:solidFill>
      </dgm:spPr>
      <dgm:t>
        <a:bodyPr/>
        <a:lstStyle/>
        <a:p>
          <a:r>
            <a:rPr lang="es-MX" sz="1400" b="1">
              <a:solidFill>
                <a:schemeClr val="bg1"/>
              </a:solidFill>
            </a:rPr>
            <a:t>Presencial Streaming</a:t>
          </a:r>
          <a:br>
            <a:rPr lang="es-MX" sz="1400" b="1">
              <a:solidFill>
                <a:schemeClr val="tx1">
                  <a:lumMod val="50000"/>
                </a:schemeClr>
              </a:solidFill>
            </a:rPr>
          </a:br>
          <a:endParaRPr lang="es-MX" sz="1400" b="1">
            <a:solidFill>
              <a:schemeClr val="tx1">
                <a:lumMod val="50000"/>
              </a:schemeClr>
            </a:solidFill>
          </a:endParaRPr>
        </a:p>
        <a:p>
          <a:r>
            <a:rPr lang="es-CL" sz="1200">
              <a:solidFill>
                <a:schemeClr val="tx1">
                  <a:lumMod val="50000"/>
                </a:schemeClr>
              </a:solidFill>
              <a:latin typeface="Arial"/>
              <a:ea typeface="SimHei"/>
              <a:cs typeface="Arial"/>
            </a:rPr>
            <a:t>Cursos Presenciales y Streaming</a:t>
          </a:r>
          <a:br>
            <a:rPr lang="es-CL" sz="1200">
              <a:solidFill>
                <a:schemeClr val="tx1">
                  <a:lumMod val="50000"/>
                </a:schemeClr>
              </a:solidFill>
              <a:latin typeface="Arial"/>
              <a:ea typeface="SimHei"/>
              <a:cs typeface="Arial"/>
            </a:rPr>
          </a:br>
          <a:r>
            <a:rPr lang="es-CL" sz="1200">
              <a:solidFill>
                <a:schemeClr val="tx1">
                  <a:lumMod val="50000"/>
                </a:schemeClr>
              </a:solidFill>
              <a:latin typeface="Arial"/>
              <a:ea typeface="SimHei"/>
              <a:cs typeface="Arial"/>
            </a:rPr>
            <a:t>Cursos Abiertos y Cerrados</a:t>
          </a:r>
          <a:br>
            <a:rPr lang="es-CL" sz="1200">
              <a:solidFill>
                <a:schemeClr val="tx1">
                  <a:lumMod val="50000"/>
                </a:schemeClr>
              </a:solidFill>
              <a:latin typeface="Arial"/>
              <a:ea typeface="SimHei"/>
              <a:cs typeface="Arial"/>
            </a:rPr>
          </a:br>
          <a:r>
            <a:rPr lang="es-CL" sz="1200">
              <a:solidFill>
                <a:schemeClr val="tx1">
                  <a:lumMod val="50000"/>
                </a:schemeClr>
              </a:solidFill>
              <a:latin typeface="Arial"/>
              <a:ea typeface="SimHei"/>
              <a:cs typeface="Arial"/>
            </a:rPr>
            <a:t>Facilitador OTEC</a:t>
          </a:r>
          <a:endParaRPr lang="es-CL" sz="1200">
            <a:solidFill>
              <a:schemeClr val="tx1">
                <a:lumMod val="50000"/>
              </a:schemeClr>
            </a:solidFill>
          </a:endParaRPr>
        </a:p>
      </dgm:t>
    </dgm:pt>
    <dgm:pt modelId="{EF54808A-B4D8-4244-BE9D-72A6B5D8ECC5}" type="parTrans" cxnId="{CE950081-2EF0-4165-A142-B5C6319FF302}">
      <dgm:prSet/>
      <dgm:spPr/>
      <dgm:t>
        <a:bodyPr/>
        <a:lstStyle/>
        <a:p>
          <a:endParaRPr lang="es-CL"/>
        </a:p>
      </dgm:t>
    </dgm:pt>
    <dgm:pt modelId="{4469A849-30C2-4628-AC79-C92F282E30C0}" type="sibTrans" cxnId="{CE950081-2EF0-4165-A142-B5C6319FF302}">
      <dgm:prSet/>
      <dgm:spPr/>
      <dgm:t>
        <a:bodyPr/>
        <a:lstStyle/>
        <a:p>
          <a:endParaRPr lang="es-CL"/>
        </a:p>
      </dgm:t>
    </dgm:pt>
    <dgm:pt modelId="{A4C4405F-B4D3-4884-84D6-D461F8CA8D74}">
      <dgm:prSet phldrT="[Texto]" custT="1"/>
      <dgm:spPr>
        <a:solidFill>
          <a:schemeClr val="tx1"/>
        </a:solidFill>
      </dgm:spPr>
      <dgm:t>
        <a:bodyPr/>
        <a:lstStyle/>
        <a:p>
          <a:r>
            <a:rPr lang="es-MX" sz="1400" b="1">
              <a:solidFill>
                <a:schemeClr val="bg1"/>
              </a:solidFill>
            </a:rPr>
            <a:t>Centros de Entrenamiento</a:t>
          </a:r>
        </a:p>
        <a:p>
          <a:endParaRPr lang="es-MX" sz="1600"/>
        </a:p>
        <a:p>
          <a:r>
            <a:rPr lang="es-MX" sz="1200">
              <a:solidFill>
                <a:schemeClr val="tx1">
                  <a:lumMod val="50000"/>
                </a:schemeClr>
              </a:solidFill>
            </a:rPr>
            <a:t>Cursos Abiertos</a:t>
          </a:r>
          <a:br>
            <a:rPr lang="es-MX" sz="1200">
              <a:solidFill>
                <a:schemeClr val="tx1">
                  <a:lumMod val="50000"/>
                </a:schemeClr>
              </a:solidFill>
            </a:rPr>
          </a:br>
          <a:r>
            <a:rPr lang="es-MX" sz="1200">
              <a:solidFill>
                <a:schemeClr val="tx1">
                  <a:lumMod val="50000"/>
                </a:schemeClr>
              </a:solidFill>
            </a:rPr>
            <a:t>Cursos Cerrados</a:t>
          </a:r>
          <a:br>
            <a:rPr lang="es-MX" sz="1200">
              <a:solidFill>
                <a:schemeClr val="tx1">
                  <a:lumMod val="50000"/>
                </a:schemeClr>
              </a:solidFill>
            </a:rPr>
          </a:br>
          <a:r>
            <a:rPr lang="es-MX" sz="1200">
              <a:solidFill>
                <a:schemeClr val="tx1">
                  <a:lumMod val="50000"/>
                </a:schemeClr>
              </a:solidFill>
            </a:rPr>
            <a:t>Facilitador OTEC</a:t>
          </a:r>
        </a:p>
        <a:p>
          <a:endParaRPr lang="es-CL" sz="1600"/>
        </a:p>
      </dgm:t>
    </dgm:pt>
    <dgm:pt modelId="{45DF7077-C378-4327-B672-AEE1C19DB496}" type="parTrans" cxnId="{D4E5DBF0-9007-4208-8A11-26E93EF072EA}">
      <dgm:prSet/>
      <dgm:spPr/>
      <dgm:t>
        <a:bodyPr/>
        <a:lstStyle/>
        <a:p>
          <a:endParaRPr lang="es-CL"/>
        </a:p>
      </dgm:t>
    </dgm:pt>
    <dgm:pt modelId="{FE184FF0-FD32-473D-8113-91263C75E6B9}" type="sibTrans" cxnId="{D4E5DBF0-9007-4208-8A11-26E93EF072EA}">
      <dgm:prSet/>
      <dgm:spPr/>
      <dgm:t>
        <a:bodyPr/>
        <a:lstStyle/>
        <a:p>
          <a:endParaRPr lang="es-CL"/>
        </a:p>
      </dgm:t>
    </dgm:pt>
    <dgm:pt modelId="{E08F8506-E0ED-4CD2-B3E8-4D524A6D0FC0}">
      <dgm:prSet phldrT="[Texto]" custT="1"/>
      <dgm:spPr>
        <a:solidFill>
          <a:schemeClr val="tx1"/>
        </a:solidFill>
      </dgm:spPr>
      <dgm:t>
        <a:bodyPr/>
        <a:lstStyle/>
        <a:p>
          <a:r>
            <a:rPr lang="es-MX" sz="1400" b="1">
              <a:solidFill>
                <a:schemeClr val="bg1"/>
              </a:solidFill>
            </a:rPr>
            <a:t>Aula Móvil</a:t>
          </a:r>
          <a:br>
            <a:rPr lang="es-MX" sz="1600" b="1">
              <a:solidFill>
                <a:schemeClr val="tx1">
                  <a:lumMod val="50000"/>
                </a:schemeClr>
              </a:solidFill>
            </a:rPr>
          </a:br>
          <a:br>
            <a:rPr lang="es-MX" sz="1600" b="1">
              <a:solidFill>
                <a:schemeClr val="tx1">
                  <a:lumMod val="50000"/>
                </a:schemeClr>
              </a:solidFill>
            </a:rPr>
          </a:br>
          <a:r>
            <a:rPr lang="es-MX" sz="1200" b="0">
              <a:solidFill>
                <a:schemeClr val="tx1">
                  <a:lumMod val="50000"/>
                </a:schemeClr>
              </a:solidFill>
            </a:rPr>
            <a:t>Cursos Presenciales</a:t>
          </a:r>
          <a:br>
            <a:rPr lang="es-MX" sz="1200" b="0">
              <a:solidFill>
                <a:schemeClr val="tx1">
                  <a:lumMod val="50000"/>
                </a:schemeClr>
              </a:solidFill>
            </a:rPr>
          </a:br>
          <a:r>
            <a:rPr lang="es-MX" sz="1200" b="0">
              <a:solidFill>
                <a:schemeClr val="tx1">
                  <a:lumMod val="50000"/>
                </a:schemeClr>
              </a:solidFill>
            </a:rPr>
            <a:t>Cursos Cerrados</a:t>
          </a:r>
          <a:br>
            <a:rPr lang="es-MX" sz="1200" b="0">
              <a:solidFill>
                <a:schemeClr val="tx1">
                  <a:lumMod val="50000"/>
                </a:schemeClr>
              </a:solidFill>
            </a:rPr>
          </a:br>
          <a:r>
            <a:rPr lang="es-MX" sz="1200" b="0">
              <a:solidFill>
                <a:schemeClr val="tx1">
                  <a:lumMod val="50000"/>
                </a:schemeClr>
              </a:solidFill>
            </a:rPr>
            <a:t>Facilitador OTEC</a:t>
          </a:r>
          <a:endParaRPr lang="es-CL" sz="1200" b="0">
            <a:solidFill>
              <a:schemeClr val="tx1">
                <a:lumMod val="50000"/>
              </a:schemeClr>
            </a:solidFill>
          </a:endParaRPr>
        </a:p>
      </dgm:t>
    </dgm:pt>
    <dgm:pt modelId="{26C23D9D-8D4F-4A69-AB99-09FB0BAC8BBC}" type="parTrans" cxnId="{1F856FFA-5808-4826-A372-FF99E655A216}">
      <dgm:prSet/>
      <dgm:spPr/>
      <dgm:t>
        <a:bodyPr/>
        <a:lstStyle/>
        <a:p>
          <a:endParaRPr lang="es-CL"/>
        </a:p>
      </dgm:t>
    </dgm:pt>
    <dgm:pt modelId="{F6BC1AA0-CC90-45EF-A49F-95A348E72E02}" type="sibTrans" cxnId="{1F856FFA-5808-4826-A372-FF99E655A216}">
      <dgm:prSet/>
      <dgm:spPr/>
      <dgm:t>
        <a:bodyPr/>
        <a:lstStyle/>
        <a:p>
          <a:endParaRPr lang="es-CL"/>
        </a:p>
      </dgm:t>
    </dgm:pt>
    <dgm:pt modelId="{3C9F729C-41BD-4B6C-AC41-457D2B5BECF0}">
      <dgm:prSet phldrT="[Texto]" custT="1"/>
      <dgm:spPr>
        <a:solidFill>
          <a:schemeClr val="accent2"/>
        </a:solidFill>
      </dgm:spPr>
      <dgm:t>
        <a:bodyPr/>
        <a:lstStyle/>
        <a:p>
          <a:r>
            <a:rPr lang="es-MX" sz="1400" b="1">
              <a:solidFill>
                <a:schemeClr val="bg1"/>
              </a:solidFill>
            </a:rPr>
            <a:t>E-learning</a:t>
          </a:r>
          <a:br>
            <a:rPr lang="es-MX" sz="1600" b="1">
              <a:solidFill>
                <a:schemeClr val="tx1">
                  <a:lumMod val="50000"/>
                </a:schemeClr>
              </a:solidFill>
            </a:rPr>
          </a:br>
          <a:endParaRPr lang="es-MX" sz="1600" b="1">
            <a:solidFill>
              <a:schemeClr val="tx1">
                <a:lumMod val="50000"/>
              </a:schemeClr>
            </a:solidFill>
          </a:endParaRPr>
        </a:p>
        <a:p>
          <a:r>
            <a:rPr lang="es-CL" sz="1200" b="0">
              <a:solidFill>
                <a:schemeClr val="tx1">
                  <a:lumMod val="50000"/>
                </a:schemeClr>
              </a:solidFill>
            </a:rPr>
            <a:t>Cursos Abiertos</a:t>
          </a:r>
          <a:br>
            <a:rPr lang="es-CL" sz="1200" b="0">
              <a:solidFill>
                <a:schemeClr val="tx1">
                  <a:lumMod val="50000"/>
                </a:schemeClr>
              </a:solidFill>
            </a:rPr>
          </a:br>
          <a:r>
            <a:rPr lang="es-CL" sz="1200" b="0">
              <a:solidFill>
                <a:schemeClr val="tx1">
                  <a:lumMod val="50000"/>
                </a:schemeClr>
              </a:solidFill>
            </a:rPr>
            <a:t>Cursos Cerrados</a:t>
          </a:r>
          <a:br>
            <a:rPr lang="es-CL" sz="1200" b="0">
              <a:solidFill>
                <a:schemeClr val="tx1">
                  <a:lumMod val="50000"/>
                </a:schemeClr>
              </a:solidFill>
            </a:rPr>
          </a:br>
          <a:r>
            <a:rPr lang="es-CL" sz="1200" b="0">
              <a:solidFill>
                <a:schemeClr val="tx1">
                  <a:lumMod val="50000"/>
                </a:schemeClr>
              </a:solidFill>
            </a:rPr>
            <a:t>Plataforma ACHS</a:t>
          </a:r>
          <a:br>
            <a:rPr lang="es-CL" sz="1200" b="0">
              <a:solidFill>
                <a:schemeClr val="tx1">
                  <a:lumMod val="50000"/>
                </a:schemeClr>
              </a:solidFill>
            </a:rPr>
          </a:br>
          <a:r>
            <a:rPr lang="es-CL" sz="1200" b="0">
              <a:solidFill>
                <a:schemeClr val="tx1">
                  <a:lumMod val="50000"/>
                </a:schemeClr>
              </a:solidFill>
            </a:rPr>
            <a:t>Capacitación</a:t>
          </a:r>
        </a:p>
        <a:p>
          <a:r>
            <a:rPr lang="es-CL" sz="1200" b="0">
              <a:solidFill>
                <a:schemeClr val="tx1">
                  <a:lumMod val="50000"/>
                </a:schemeClr>
              </a:solidFill>
            </a:rPr>
            <a:t>Portal de gestión de cursos</a:t>
          </a:r>
        </a:p>
      </dgm:t>
    </dgm:pt>
    <dgm:pt modelId="{751AAEE2-BF07-4FF6-BB03-42D104461F7C}" type="parTrans" cxnId="{309E1548-2726-481A-B9F5-4F89145D72EC}">
      <dgm:prSet/>
      <dgm:spPr/>
      <dgm:t>
        <a:bodyPr/>
        <a:lstStyle/>
        <a:p>
          <a:endParaRPr lang="es-CL"/>
        </a:p>
      </dgm:t>
    </dgm:pt>
    <dgm:pt modelId="{22F00D98-5C4B-4B23-B701-1AA1BBB0582E}" type="sibTrans" cxnId="{309E1548-2726-481A-B9F5-4F89145D72EC}">
      <dgm:prSet/>
      <dgm:spPr/>
      <dgm:t>
        <a:bodyPr/>
        <a:lstStyle/>
        <a:p>
          <a:endParaRPr lang="es-CL"/>
        </a:p>
      </dgm:t>
    </dgm:pt>
    <dgm:pt modelId="{01029C48-27F5-480A-B2D0-1998CD50A288}" type="pres">
      <dgm:prSet presAssocID="{DCA1C8ED-C439-4F36-86CB-FB57D13522DC}" presName="matrix" presStyleCnt="0">
        <dgm:presLayoutVars>
          <dgm:chMax val="1"/>
          <dgm:dir/>
          <dgm:resizeHandles val="exact"/>
        </dgm:presLayoutVars>
      </dgm:prSet>
      <dgm:spPr/>
    </dgm:pt>
    <dgm:pt modelId="{6BD26648-00AE-4228-B7E3-C4C06C6F32BA}" type="pres">
      <dgm:prSet presAssocID="{DCA1C8ED-C439-4F36-86CB-FB57D13522DC}" presName="diamond" presStyleLbl="bgShp" presStyleIdx="0" presStyleCnt="1"/>
      <dgm:spPr/>
    </dgm:pt>
    <dgm:pt modelId="{603854F3-CC33-4B6A-B4C4-5D39F28C3F83}" type="pres">
      <dgm:prSet presAssocID="{DCA1C8ED-C439-4F36-86CB-FB57D13522DC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9CDECC8A-D74F-45F2-9FBD-69C06219C0B0}" type="pres">
      <dgm:prSet presAssocID="{DCA1C8ED-C439-4F36-86CB-FB57D13522DC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B045AF7-5069-486F-A35A-67C9A491D544}" type="pres">
      <dgm:prSet presAssocID="{DCA1C8ED-C439-4F36-86CB-FB57D13522DC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FF13B2B9-2BD1-4FA8-AD5F-831E2FC6594C}" type="pres">
      <dgm:prSet presAssocID="{DCA1C8ED-C439-4F36-86CB-FB57D13522DC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89D9D70C-66DF-4708-8D95-14405E9C3B85}" type="presOf" srcId="{3C9F729C-41BD-4B6C-AC41-457D2B5BECF0}" destId="{FF13B2B9-2BD1-4FA8-AD5F-831E2FC6594C}" srcOrd="0" destOrd="0" presId="urn:microsoft.com/office/officeart/2005/8/layout/matrix3"/>
    <dgm:cxn modelId="{49AD4115-8C2A-4426-ACAC-B2D5BDC2D779}" type="presOf" srcId="{E08F8506-E0ED-4CD2-B3E8-4D524A6D0FC0}" destId="{2B045AF7-5069-486F-A35A-67C9A491D544}" srcOrd="0" destOrd="0" presId="urn:microsoft.com/office/officeart/2005/8/layout/matrix3"/>
    <dgm:cxn modelId="{BE2FC532-6536-4CE4-A038-DFFC99171C90}" type="presOf" srcId="{DCA1C8ED-C439-4F36-86CB-FB57D13522DC}" destId="{01029C48-27F5-480A-B2D0-1998CD50A288}" srcOrd="0" destOrd="0" presId="urn:microsoft.com/office/officeart/2005/8/layout/matrix3"/>
    <dgm:cxn modelId="{309E1548-2726-481A-B9F5-4F89145D72EC}" srcId="{DCA1C8ED-C439-4F36-86CB-FB57D13522DC}" destId="{3C9F729C-41BD-4B6C-AC41-457D2B5BECF0}" srcOrd="3" destOrd="0" parTransId="{751AAEE2-BF07-4FF6-BB03-42D104461F7C}" sibTransId="{22F00D98-5C4B-4B23-B701-1AA1BBB0582E}"/>
    <dgm:cxn modelId="{CE950081-2EF0-4165-A142-B5C6319FF302}" srcId="{DCA1C8ED-C439-4F36-86CB-FB57D13522DC}" destId="{BDEAC7CD-A764-4822-AE6D-32826BD64A7E}" srcOrd="0" destOrd="0" parTransId="{EF54808A-B4D8-4244-BE9D-72A6B5D8ECC5}" sibTransId="{4469A849-30C2-4628-AC79-C92F282E30C0}"/>
    <dgm:cxn modelId="{BE9217BA-2FC2-42CA-BF88-F364C4EEE325}" type="presOf" srcId="{BDEAC7CD-A764-4822-AE6D-32826BD64A7E}" destId="{603854F3-CC33-4B6A-B4C4-5D39F28C3F83}" srcOrd="0" destOrd="0" presId="urn:microsoft.com/office/officeart/2005/8/layout/matrix3"/>
    <dgm:cxn modelId="{B3723FD4-0E09-4EC4-A89D-E3B459C319D3}" type="presOf" srcId="{A4C4405F-B4D3-4884-84D6-D461F8CA8D74}" destId="{9CDECC8A-D74F-45F2-9FBD-69C06219C0B0}" srcOrd="0" destOrd="0" presId="urn:microsoft.com/office/officeart/2005/8/layout/matrix3"/>
    <dgm:cxn modelId="{D4E5DBF0-9007-4208-8A11-26E93EF072EA}" srcId="{DCA1C8ED-C439-4F36-86CB-FB57D13522DC}" destId="{A4C4405F-B4D3-4884-84D6-D461F8CA8D74}" srcOrd="1" destOrd="0" parTransId="{45DF7077-C378-4327-B672-AEE1C19DB496}" sibTransId="{FE184FF0-FD32-473D-8113-91263C75E6B9}"/>
    <dgm:cxn modelId="{1F856FFA-5808-4826-A372-FF99E655A216}" srcId="{DCA1C8ED-C439-4F36-86CB-FB57D13522DC}" destId="{E08F8506-E0ED-4CD2-B3E8-4D524A6D0FC0}" srcOrd="2" destOrd="0" parTransId="{26C23D9D-8D4F-4A69-AB99-09FB0BAC8BBC}" sibTransId="{F6BC1AA0-CC90-45EF-A49F-95A348E72E02}"/>
    <dgm:cxn modelId="{C337353F-4873-4863-A75C-616BECE9C6A8}" type="presParOf" srcId="{01029C48-27F5-480A-B2D0-1998CD50A288}" destId="{6BD26648-00AE-4228-B7E3-C4C06C6F32BA}" srcOrd="0" destOrd="0" presId="urn:microsoft.com/office/officeart/2005/8/layout/matrix3"/>
    <dgm:cxn modelId="{D1074198-2FFF-40AC-95E4-0AD6E67995B8}" type="presParOf" srcId="{01029C48-27F5-480A-B2D0-1998CD50A288}" destId="{603854F3-CC33-4B6A-B4C4-5D39F28C3F83}" srcOrd="1" destOrd="0" presId="urn:microsoft.com/office/officeart/2005/8/layout/matrix3"/>
    <dgm:cxn modelId="{49EB43A0-3126-40E3-AF56-A2500A965436}" type="presParOf" srcId="{01029C48-27F5-480A-B2D0-1998CD50A288}" destId="{9CDECC8A-D74F-45F2-9FBD-69C06219C0B0}" srcOrd="2" destOrd="0" presId="urn:microsoft.com/office/officeart/2005/8/layout/matrix3"/>
    <dgm:cxn modelId="{539AE9B3-BF5E-422B-AF04-9C448EDDB331}" type="presParOf" srcId="{01029C48-27F5-480A-B2D0-1998CD50A288}" destId="{2B045AF7-5069-486F-A35A-67C9A491D544}" srcOrd="3" destOrd="0" presId="urn:microsoft.com/office/officeart/2005/8/layout/matrix3"/>
    <dgm:cxn modelId="{7674490D-4D68-4860-9653-B974653AF8CB}" type="presParOf" srcId="{01029C48-27F5-480A-B2D0-1998CD50A288}" destId="{FF13B2B9-2BD1-4FA8-AD5F-831E2FC6594C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D26648-00AE-4228-B7E3-C4C06C6F32BA}">
      <dsp:nvSpPr>
        <dsp:cNvPr id="0" name=""/>
        <dsp:cNvSpPr/>
      </dsp:nvSpPr>
      <dsp:spPr>
        <a:xfrm>
          <a:off x="1164200" y="0"/>
          <a:ext cx="5333662" cy="5333662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3854F3-CC33-4B6A-B4C4-5D39F28C3F83}">
      <dsp:nvSpPr>
        <dsp:cNvPr id="0" name=""/>
        <dsp:cNvSpPr/>
      </dsp:nvSpPr>
      <dsp:spPr>
        <a:xfrm>
          <a:off x="1670897" y="506697"/>
          <a:ext cx="2080128" cy="2080128"/>
        </a:xfrm>
        <a:prstGeom prst="round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400" b="1" kern="1200">
              <a:solidFill>
                <a:schemeClr val="bg1"/>
              </a:solidFill>
            </a:rPr>
            <a:t>Presencial Streaming</a:t>
          </a:r>
          <a:br>
            <a:rPr lang="es-MX" sz="1400" b="1" kern="1200">
              <a:solidFill>
                <a:schemeClr val="tx1">
                  <a:lumMod val="50000"/>
                </a:schemeClr>
              </a:solidFill>
            </a:rPr>
          </a:br>
          <a:endParaRPr lang="es-MX" sz="1400" b="1" kern="1200">
            <a:solidFill>
              <a:schemeClr val="tx1">
                <a:lumMod val="50000"/>
              </a:schemeClr>
            </a:solidFill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200" kern="1200">
              <a:solidFill>
                <a:schemeClr val="tx1">
                  <a:lumMod val="50000"/>
                </a:schemeClr>
              </a:solidFill>
              <a:latin typeface="Arial"/>
              <a:ea typeface="SimHei"/>
              <a:cs typeface="Arial"/>
            </a:rPr>
            <a:t>Cursos Presenciales y Streaming</a:t>
          </a:r>
          <a:br>
            <a:rPr lang="es-CL" sz="1200" kern="1200">
              <a:solidFill>
                <a:schemeClr val="tx1">
                  <a:lumMod val="50000"/>
                </a:schemeClr>
              </a:solidFill>
              <a:latin typeface="Arial"/>
              <a:ea typeface="SimHei"/>
              <a:cs typeface="Arial"/>
            </a:rPr>
          </a:br>
          <a:r>
            <a:rPr lang="es-CL" sz="1200" kern="1200">
              <a:solidFill>
                <a:schemeClr val="tx1">
                  <a:lumMod val="50000"/>
                </a:schemeClr>
              </a:solidFill>
              <a:latin typeface="Arial"/>
              <a:ea typeface="SimHei"/>
              <a:cs typeface="Arial"/>
            </a:rPr>
            <a:t>Cursos Abiertos y Cerrados</a:t>
          </a:r>
          <a:br>
            <a:rPr lang="es-CL" sz="1200" kern="1200">
              <a:solidFill>
                <a:schemeClr val="tx1">
                  <a:lumMod val="50000"/>
                </a:schemeClr>
              </a:solidFill>
              <a:latin typeface="Arial"/>
              <a:ea typeface="SimHei"/>
              <a:cs typeface="Arial"/>
            </a:rPr>
          </a:br>
          <a:r>
            <a:rPr lang="es-CL" sz="1200" kern="1200">
              <a:solidFill>
                <a:schemeClr val="tx1">
                  <a:lumMod val="50000"/>
                </a:schemeClr>
              </a:solidFill>
              <a:latin typeface="Arial"/>
              <a:ea typeface="SimHei"/>
              <a:cs typeface="Arial"/>
            </a:rPr>
            <a:t>Facilitador OTEC</a:t>
          </a:r>
          <a:endParaRPr lang="es-CL" sz="1200" kern="1200">
            <a:solidFill>
              <a:schemeClr val="tx1">
                <a:lumMod val="50000"/>
              </a:schemeClr>
            </a:solidFill>
          </a:endParaRPr>
        </a:p>
      </dsp:txBody>
      <dsp:txXfrm>
        <a:off x="1772440" y="608240"/>
        <a:ext cx="1877042" cy="1877042"/>
      </dsp:txXfrm>
    </dsp:sp>
    <dsp:sp modelId="{9CDECC8A-D74F-45F2-9FBD-69C06219C0B0}">
      <dsp:nvSpPr>
        <dsp:cNvPr id="0" name=""/>
        <dsp:cNvSpPr/>
      </dsp:nvSpPr>
      <dsp:spPr>
        <a:xfrm>
          <a:off x="3911035" y="506697"/>
          <a:ext cx="2080128" cy="2080128"/>
        </a:xfrm>
        <a:prstGeom prst="roundRect">
          <a:avLst/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400" b="1" kern="1200">
              <a:solidFill>
                <a:schemeClr val="bg1"/>
              </a:solidFill>
            </a:rPr>
            <a:t>Centros de Entrenamiento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MX" sz="160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200" kern="1200">
              <a:solidFill>
                <a:schemeClr val="tx1">
                  <a:lumMod val="50000"/>
                </a:schemeClr>
              </a:solidFill>
            </a:rPr>
            <a:t>Cursos Abiertos</a:t>
          </a:r>
          <a:br>
            <a:rPr lang="es-MX" sz="1200" kern="1200">
              <a:solidFill>
                <a:schemeClr val="tx1">
                  <a:lumMod val="50000"/>
                </a:schemeClr>
              </a:solidFill>
            </a:rPr>
          </a:br>
          <a:r>
            <a:rPr lang="es-MX" sz="1200" kern="1200">
              <a:solidFill>
                <a:schemeClr val="tx1">
                  <a:lumMod val="50000"/>
                </a:schemeClr>
              </a:solidFill>
            </a:rPr>
            <a:t>Cursos Cerrados</a:t>
          </a:r>
          <a:br>
            <a:rPr lang="es-MX" sz="1200" kern="1200">
              <a:solidFill>
                <a:schemeClr val="tx1">
                  <a:lumMod val="50000"/>
                </a:schemeClr>
              </a:solidFill>
            </a:rPr>
          </a:br>
          <a:r>
            <a:rPr lang="es-MX" sz="1200" kern="1200">
              <a:solidFill>
                <a:schemeClr val="tx1">
                  <a:lumMod val="50000"/>
                </a:schemeClr>
              </a:solidFill>
            </a:rPr>
            <a:t>Facilitador OTEC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L" sz="1600" kern="1200"/>
        </a:p>
      </dsp:txBody>
      <dsp:txXfrm>
        <a:off x="4012578" y="608240"/>
        <a:ext cx="1877042" cy="1877042"/>
      </dsp:txXfrm>
    </dsp:sp>
    <dsp:sp modelId="{2B045AF7-5069-486F-A35A-67C9A491D544}">
      <dsp:nvSpPr>
        <dsp:cNvPr id="0" name=""/>
        <dsp:cNvSpPr/>
      </dsp:nvSpPr>
      <dsp:spPr>
        <a:xfrm>
          <a:off x="1670897" y="2746835"/>
          <a:ext cx="2080128" cy="2080128"/>
        </a:xfrm>
        <a:prstGeom prst="roundRect">
          <a:avLst/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400" b="1" kern="1200">
              <a:solidFill>
                <a:schemeClr val="bg1"/>
              </a:solidFill>
            </a:rPr>
            <a:t>Aula Móvil</a:t>
          </a:r>
          <a:br>
            <a:rPr lang="es-MX" sz="1600" b="1" kern="1200">
              <a:solidFill>
                <a:schemeClr val="tx1">
                  <a:lumMod val="50000"/>
                </a:schemeClr>
              </a:solidFill>
            </a:rPr>
          </a:br>
          <a:br>
            <a:rPr lang="es-MX" sz="1600" b="1" kern="1200">
              <a:solidFill>
                <a:schemeClr val="tx1">
                  <a:lumMod val="50000"/>
                </a:schemeClr>
              </a:solidFill>
            </a:rPr>
          </a:br>
          <a:r>
            <a:rPr lang="es-MX" sz="1200" b="0" kern="1200">
              <a:solidFill>
                <a:schemeClr val="tx1">
                  <a:lumMod val="50000"/>
                </a:schemeClr>
              </a:solidFill>
            </a:rPr>
            <a:t>Cursos Presenciales</a:t>
          </a:r>
          <a:br>
            <a:rPr lang="es-MX" sz="1200" b="0" kern="1200">
              <a:solidFill>
                <a:schemeClr val="tx1">
                  <a:lumMod val="50000"/>
                </a:schemeClr>
              </a:solidFill>
            </a:rPr>
          </a:br>
          <a:r>
            <a:rPr lang="es-MX" sz="1200" b="0" kern="1200">
              <a:solidFill>
                <a:schemeClr val="tx1">
                  <a:lumMod val="50000"/>
                </a:schemeClr>
              </a:solidFill>
            </a:rPr>
            <a:t>Cursos Cerrados</a:t>
          </a:r>
          <a:br>
            <a:rPr lang="es-MX" sz="1200" b="0" kern="1200">
              <a:solidFill>
                <a:schemeClr val="tx1">
                  <a:lumMod val="50000"/>
                </a:schemeClr>
              </a:solidFill>
            </a:rPr>
          </a:br>
          <a:r>
            <a:rPr lang="es-MX" sz="1200" b="0" kern="1200">
              <a:solidFill>
                <a:schemeClr val="tx1">
                  <a:lumMod val="50000"/>
                </a:schemeClr>
              </a:solidFill>
            </a:rPr>
            <a:t>Facilitador OTEC</a:t>
          </a:r>
          <a:endParaRPr lang="es-CL" sz="1200" b="0" kern="1200">
            <a:solidFill>
              <a:schemeClr val="tx1">
                <a:lumMod val="50000"/>
              </a:schemeClr>
            </a:solidFill>
          </a:endParaRPr>
        </a:p>
      </dsp:txBody>
      <dsp:txXfrm>
        <a:off x="1772440" y="2848378"/>
        <a:ext cx="1877042" cy="1877042"/>
      </dsp:txXfrm>
    </dsp:sp>
    <dsp:sp modelId="{FF13B2B9-2BD1-4FA8-AD5F-831E2FC6594C}">
      <dsp:nvSpPr>
        <dsp:cNvPr id="0" name=""/>
        <dsp:cNvSpPr/>
      </dsp:nvSpPr>
      <dsp:spPr>
        <a:xfrm>
          <a:off x="3911035" y="2746835"/>
          <a:ext cx="2080128" cy="2080128"/>
        </a:xfrm>
        <a:prstGeom prst="round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400" b="1" kern="1200">
              <a:solidFill>
                <a:schemeClr val="bg1"/>
              </a:solidFill>
            </a:rPr>
            <a:t>E-learning</a:t>
          </a:r>
          <a:br>
            <a:rPr lang="es-MX" sz="1600" b="1" kern="1200">
              <a:solidFill>
                <a:schemeClr val="tx1">
                  <a:lumMod val="50000"/>
                </a:schemeClr>
              </a:solidFill>
            </a:rPr>
          </a:br>
          <a:endParaRPr lang="es-MX" sz="1600" b="1" kern="1200">
            <a:solidFill>
              <a:schemeClr val="tx1">
                <a:lumMod val="50000"/>
              </a:schemeClr>
            </a:solidFill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200" b="0" kern="1200">
              <a:solidFill>
                <a:schemeClr val="tx1">
                  <a:lumMod val="50000"/>
                </a:schemeClr>
              </a:solidFill>
            </a:rPr>
            <a:t>Cursos Abiertos</a:t>
          </a:r>
          <a:br>
            <a:rPr lang="es-CL" sz="1200" b="0" kern="1200">
              <a:solidFill>
                <a:schemeClr val="tx1">
                  <a:lumMod val="50000"/>
                </a:schemeClr>
              </a:solidFill>
            </a:rPr>
          </a:br>
          <a:r>
            <a:rPr lang="es-CL" sz="1200" b="0" kern="1200">
              <a:solidFill>
                <a:schemeClr val="tx1">
                  <a:lumMod val="50000"/>
                </a:schemeClr>
              </a:solidFill>
            </a:rPr>
            <a:t>Cursos Cerrados</a:t>
          </a:r>
          <a:br>
            <a:rPr lang="es-CL" sz="1200" b="0" kern="1200">
              <a:solidFill>
                <a:schemeClr val="tx1">
                  <a:lumMod val="50000"/>
                </a:schemeClr>
              </a:solidFill>
            </a:rPr>
          </a:br>
          <a:r>
            <a:rPr lang="es-CL" sz="1200" b="0" kern="1200">
              <a:solidFill>
                <a:schemeClr val="tx1">
                  <a:lumMod val="50000"/>
                </a:schemeClr>
              </a:solidFill>
            </a:rPr>
            <a:t>Plataforma ACHS</a:t>
          </a:r>
          <a:br>
            <a:rPr lang="es-CL" sz="1200" b="0" kern="1200">
              <a:solidFill>
                <a:schemeClr val="tx1">
                  <a:lumMod val="50000"/>
                </a:schemeClr>
              </a:solidFill>
            </a:rPr>
          </a:br>
          <a:r>
            <a:rPr lang="es-CL" sz="1200" b="0" kern="1200">
              <a:solidFill>
                <a:schemeClr val="tx1">
                  <a:lumMod val="50000"/>
                </a:schemeClr>
              </a:solidFill>
            </a:rPr>
            <a:t>Capacitación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200" b="0" kern="1200">
              <a:solidFill>
                <a:schemeClr val="tx1">
                  <a:lumMod val="50000"/>
                </a:schemeClr>
              </a:solidFill>
            </a:rPr>
            <a:t>Portal de gestión de cursos</a:t>
          </a:r>
        </a:p>
      </dsp:txBody>
      <dsp:txXfrm>
        <a:off x="4012578" y="2848378"/>
        <a:ext cx="1877042" cy="18770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B9188E16-A5FE-A144-97F6-5D99CCB6C3C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95B1F7A-4E48-CD4F-94BA-B2FCC45F7BE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9CEFCD-101D-B344-A216-EEBAD2A9FEC9}" type="datetimeFigureOut">
              <a:rPr lang="es-CL" smtClean="0"/>
              <a:t>02-12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7EA905C-21BA-E14A-AA0A-091761D2F16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E4F9FCA-A903-9A42-9C83-FDEC2A5339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80C8CA-6B66-244E-B272-B10E2DDA1CC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67975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6" name="Shape 4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879103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 b="0" i="0">
        <a:latin typeface="Arial" panose="020B0604020202020204" pitchFamily="34" charset="0"/>
        <a:ea typeface="+mn-ea"/>
        <a:cs typeface="Arial" panose="020B0604020202020204" pitchFamily="34" charset="0"/>
        <a:sym typeface="Helvetica Neue"/>
      </a:defRPr>
    </a:lvl1pPr>
    <a:lvl2pPr indent="1143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2pPr>
    <a:lvl3pPr indent="2286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3pPr>
    <a:lvl4pPr indent="3429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4pPr>
    <a:lvl5pPr indent="4572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5pPr>
    <a:lvl6pPr indent="5715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6pPr>
    <a:lvl7pPr indent="6858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7pPr>
    <a:lvl8pPr indent="8001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8pPr>
    <a:lvl9pPr indent="9144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F39E80-6FC7-4912-A19E-63C9826E1926}" type="slidenum">
              <a:rPr kumimoji="0" lang="es-CL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CL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7334915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F39E80-6FC7-4912-A19E-63C9826E1926}" type="slidenum">
              <a:rPr kumimoji="0" lang="es-CL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CL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2505629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104E6-1D57-954D-C807-7034B50830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36030B52-82E3-4780-1CB5-09F80D4100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8212C72-B046-1A3F-4168-7AB9F18359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D51A347-4D3E-BB06-317E-CE3E55CF23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F39E80-6FC7-4912-A19E-63C9826E1926}" type="slidenum">
              <a:rPr kumimoji="0" lang="es-CL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CL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2397191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D691CC-DD9C-30B1-0D6C-DA2CB55E6F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B87BE2F3-74DC-3F6B-3B92-D0C6A57415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40A93B45-1615-6C5F-2EE7-5A919A2800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502C49D-BE48-1118-5B53-90DF3F1CE5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F39E80-6FC7-4912-A19E-63C9826E1926}" type="slidenum">
              <a:rPr kumimoji="0" lang="es-CL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s-CL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457781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AAED92-987F-696A-FBDF-5BEC480B6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B2A9ABF9-C458-C4FA-EBCD-FE56EEFFF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E5FA2D5-E1FF-880D-C41C-38C03A709A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9FE495C-AAAD-A911-99F8-29B20C5C95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F39E80-6FC7-4912-A19E-63C9826E1926}" type="slidenum">
              <a:rPr kumimoji="0" lang="es-CL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s-CL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6195514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F39E80-6FC7-4912-A19E-63C9826E1926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7171521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F39E80-6FC7-4912-A19E-63C9826E1926}" type="slidenum">
              <a:rPr kumimoji="0" lang="es-CL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s-CL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724462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7.emf"/><Relationship Id="rId4" Type="http://schemas.openxmlformats.org/officeDocument/2006/relationships/image" Target="../media/image2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Relationship Id="rId5" Type="http://schemas.openxmlformats.org/officeDocument/2006/relationships/image" Target="../media/image7.emf"/><Relationship Id="rId4" Type="http://schemas.openxmlformats.org/officeDocument/2006/relationships/image" Target="../media/image32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Relationship Id="rId6" Type="http://schemas.openxmlformats.org/officeDocument/2006/relationships/image" Target="../media/image7.emf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Relationship Id="rId6" Type="http://schemas.openxmlformats.org/officeDocument/2006/relationships/image" Target="../media/image7.emf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6" Type="http://schemas.openxmlformats.org/officeDocument/2006/relationships/image" Target="../media/image7.emf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6" Type="http://schemas.openxmlformats.org/officeDocument/2006/relationships/image" Target="../media/image7.emf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5" Type="http://schemas.openxmlformats.org/officeDocument/2006/relationships/image" Target="../media/image7.emf"/><Relationship Id="rId4" Type="http://schemas.openxmlformats.org/officeDocument/2006/relationships/image" Target="../media/image14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Relationship Id="rId5" Type="http://schemas.openxmlformats.org/officeDocument/2006/relationships/image" Target="../media/image7.emf"/><Relationship Id="rId4" Type="http://schemas.openxmlformats.org/officeDocument/2006/relationships/image" Target="../media/image2.emf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Relationship Id="rId5" Type="http://schemas.openxmlformats.org/officeDocument/2006/relationships/image" Target="../media/image7.emf"/><Relationship Id="rId4" Type="http://schemas.openxmlformats.org/officeDocument/2006/relationships/image" Target="../media/image15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Relationship Id="rId5" Type="http://schemas.openxmlformats.org/officeDocument/2006/relationships/image" Target="../media/image7.emf"/><Relationship Id="rId4" Type="http://schemas.openxmlformats.org/officeDocument/2006/relationships/image" Target="../media/image15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5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Relationship Id="rId5" Type="http://schemas.openxmlformats.org/officeDocument/2006/relationships/image" Target="../media/image7.emf"/><Relationship Id="rId4" Type="http://schemas.openxmlformats.org/officeDocument/2006/relationships/image" Target="../media/image16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Relationship Id="rId5" Type="http://schemas.openxmlformats.org/officeDocument/2006/relationships/image" Target="../media/image7.emf"/><Relationship Id="rId4" Type="http://schemas.openxmlformats.org/officeDocument/2006/relationships/image" Target="../media/image17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Relationship Id="rId5" Type="http://schemas.openxmlformats.org/officeDocument/2006/relationships/image" Target="../media/image7.emf"/><Relationship Id="rId4" Type="http://schemas.openxmlformats.org/officeDocument/2006/relationships/image" Target="../media/image18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Relationship Id="rId5" Type="http://schemas.openxmlformats.org/officeDocument/2006/relationships/image" Target="../media/image7.emf"/><Relationship Id="rId4" Type="http://schemas.openxmlformats.org/officeDocument/2006/relationships/image" Target="../media/image18.emf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emf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Relationship Id="rId5" Type="http://schemas.openxmlformats.org/officeDocument/2006/relationships/image" Target="../media/image7.emf"/><Relationship Id="rId4" Type="http://schemas.openxmlformats.org/officeDocument/2006/relationships/image" Target="../media/image21.emf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7.emf"/><Relationship Id="rId4" Type="http://schemas.openxmlformats.org/officeDocument/2006/relationships/image" Target="../media/image15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Relationship Id="rId5" Type="http://schemas.openxmlformats.org/officeDocument/2006/relationships/image" Target="../media/image7.emf"/><Relationship Id="rId4" Type="http://schemas.openxmlformats.org/officeDocument/2006/relationships/image" Target="../media/image22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Relationship Id="rId5" Type="http://schemas.openxmlformats.org/officeDocument/2006/relationships/image" Target="../media/image7.emf"/><Relationship Id="rId4" Type="http://schemas.openxmlformats.org/officeDocument/2006/relationships/image" Target="../media/image23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Relationship Id="rId5" Type="http://schemas.openxmlformats.org/officeDocument/2006/relationships/image" Target="../media/image7.emf"/><Relationship Id="rId4" Type="http://schemas.openxmlformats.org/officeDocument/2006/relationships/image" Target="../media/image24.emf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Relationship Id="rId4" Type="http://schemas.openxmlformats.org/officeDocument/2006/relationships/image" Target="../media/image7.emf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7.emf"/><Relationship Id="rId4" Type="http://schemas.openxmlformats.org/officeDocument/2006/relationships/image" Target="../media/image15.emf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Relationship Id="rId5" Type="http://schemas.openxmlformats.org/officeDocument/2006/relationships/image" Target="../media/image7.emf"/><Relationship Id="rId4" Type="http://schemas.openxmlformats.org/officeDocument/2006/relationships/image" Target="../media/image25.emf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7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Relationship Id="rId4" Type="http://schemas.openxmlformats.org/officeDocument/2006/relationships/image" Target="../media/image7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Relationship Id="rId4" Type="http://schemas.openxmlformats.org/officeDocument/2006/relationships/image" Target="../media/image7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Relationship Id="rId4" Type="http://schemas.openxmlformats.org/officeDocument/2006/relationships/image" Target="../media/image28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5.emf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2.xml"/><Relationship Id="rId4" Type="http://schemas.openxmlformats.org/officeDocument/2006/relationships/image" Target="../media/image7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Relationship Id="rId4" Type="http://schemas.openxmlformats.org/officeDocument/2006/relationships/image" Target="../media/image7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4.xml"/><Relationship Id="rId4" Type="http://schemas.openxmlformats.org/officeDocument/2006/relationships/image" Target="../media/image7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Relationship Id="rId5" Type="http://schemas.openxmlformats.org/officeDocument/2006/relationships/image" Target="../media/image7.emf"/><Relationship Id="rId4" Type="http://schemas.openxmlformats.org/officeDocument/2006/relationships/image" Target="../media/image32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Relationship Id="rId4" Type="http://schemas.openxmlformats.org/officeDocument/2006/relationships/image" Target="../media/image3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emf"/><Relationship Id="rId4" Type="http://schemas.openxmlformats.org/officeDocument/2006/relationships/image" Target="../media/image1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emf"/><Relationship Id="rId4" Type="http://schemas.openxmlformats.org/officeDocument/2006/relationships/image" Target="../media/image17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7.emf"/><Relationship Id="rId4" Type="http://schemas.openxmlformats.org/officeDocument/2006/relationships/image" Target="../media/image18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7.emf"/><Relationship Id="rId4" Type="http://schemas.openxmlformats.org/officeDocument/2006/relationships/image" Target="../media/image18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7.emf"/><Relationship Id="rId4" Type="http://schemas.openxmlformats.org/officeDocument/2006/relationships/image" Target="../media/image21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7.emf"/><Relationship Id="rId4" Type="http://schemas.openxmlformats.org/officeDocument/2006/relationships/image" Target="../media/image2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7.emf"/><Relationship Id="rId4" Type="http://schemas.openxmlformats.org/officeDocument/2006/relationships/image" Target="../media/image2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7.emf"/><Relationship Id="rId4" Type="http://schemas.openxmlformats.org/officeDocument/2006/relationships/image" Target="../media/image24.emf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7.emf"/><Relationship Id="rId4" Type="http://schemas.openxmlformats.org/officeDocument/2006/relationships/image" Target="../media/image25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emf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7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7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7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8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oleObject" Target="../embeddings/oleObject4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7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7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emf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7.emf"/><Relationship Id="rId4" Type="http://schemas.openxmlformats.org/officeDocument/2006/relationships/image" Target="../media/image3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6" Type="http://schemas.openxmlformats.org/officeDocument/2006/relationships/image" Target="../media/image7.emf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6" Type="http://schemas.openxmlformats.org/officeDocument/2006/relationships/image" Target="../media/image7.emf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6" Type="http://schemas.openxmlformats.org/officeDocument/2006/relationships/image" Target="../media/image7.emf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emf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7.emf"/><Relationship Id="rId4" Type="http://schemas.openxmlformats.org/officeDocument/2006/relationships/image" Target="../media/image14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7.emf"/><Relationship Id="rId4" Type="http://schemas.openxmlformats.org/officeDocument/2006/relationships/image" Target="../media/image2.emf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7.emf"/><Relationship Id="rId4" Type="http://schemas.openxmlformats.org/officeDocument/2006/relationships/image" Target="../media/image15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5" Type="http://schemas.openxmlformats.org/officeDocument/2006/relationships/image" Target="../media/image7.emf"/><Relationship Id="rId4" Type="http://schemas.openxmlformats.org/officeDocument/2006/relationships/image" Target="../media/image15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5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5" Type="http://schemas.openxmlformats.org/officeDocument/2006/relationships/image" Target="../media/image7.emf"/><Relationship Id="rId4" Type="http://schemas.openxmlformats.org/officeDocument/2006/relationships/image" Target="../media/image16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5" Type="http://schemas.openxmlformats.org/officeDocument/2006/relationships/image" Target="../media/image7.emf"/><Relationship Id="rId4" Type="http://schemas.openxmlformats.org/officeDocument/2006/relationships/image" Target="../media/image17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emf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7.emf"/><Relationship Id="rId4" Type="http://schemas.openxmlformats.org/officeDocument/2006/relationships/image" Target="../media/image18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7.emf"/><Relationship Id="rId4" Type="http://schemas.openxmlformats.org/officeDocument/2006/relationships/image" Target="../media/image18.emf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emf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7.emf"/><Relationship Id="rId4" Type="http://schemas.openxmlformats.org/officeDocument/2006/relationships/image" Target="../media/image21.emf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5" Type="http://schemas.openxmlformats.org/officeDocument/2006/relationships/image" Target="../media/image7.emf"/><Relationship Id="rId4" Type="http://schemas.openxmlformats.org/officeDocument/2006/relationships/image" Target="../media/image22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5" Type="http://schemas.openxmlformats.org/officeDocument/2006/relationships/image" Target="../media/image7.emf"/><Relationship Id="rId4" Type="http://schemas.openxmlformats.org/officeDocument/2006/relationships/image" Target="../media/image2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5" Type="http://schemas.openxmlformats.org/officeDocument/2006/relationships/image" Target="../media/image7.emf"/><Relationship Id="rId4" Type="http://schemas.openxmlformats.org/officeDocument/2006/relationships/image" Target="../media/image24.emf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7.emf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5" Type="http://schemas.openxmlformats.org/officeDocument/2006/relationships/image" Target="../media/image7.emf"/><Relationship Id="rId4" Type="http://schemas.openxmlformats.org/officeDocument/2006/relationships/image" Target="../media/image2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emf"/><Relationship Id="rId4" Type="http://schemas.openxmlformats.org/officeDocument/2006/relationships/image" Target="../media/image14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7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4" Type="http://schemas.openxmlformats.org/officeDocument/2006/relationships/image" Target="../media/image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4" Type="http://schemas.openxmlformats.org/officeDocument/2006/relationships/image" Target="../media/image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4" Type="http://schemas.openxmlformats.org/officeDocument/2006/relationships/image" Target="../media/image28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4" Type="http://schemas.openxmlformats.org/officeDocument/2006/relationships/oleObject" Target="../embeddings/oleObject4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4" Type="http://schemas.openxmlformats.org/officeDocument/2006/relationships/image" Target="../media/image7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B284AD3-DA1F-C94F-A358-BE3BC8C70D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63" y="2351669"/>
            <a:ext cx="4418467" cy="1805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39888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ortada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801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048226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61616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Asociación Chilena de Seguridad…">
            <a:extLst>
              <a:ext uri="{FF2B5EF4-FFF2-40B4-BE49-F238E27FC236}">
                <a16:creationId xmlns:a16="http://schemas.microsoft.com/office/drawing/2014/main" id="{0566E8CB-CFA5-0993-8848-2224E724D0A1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F406DD75-EFED-8148-B3B9-76FA0FDA661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92772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Muchas</a:t>
            </a:r>
          </a:p>
          <a:p>
            <a:pPr lvl="0"/>
            <a:r>
              <a:rPr lang="es-ES"/>
              <a:t>gracias!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www.achs.cl</a:t>
            </a:r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2D6A441B-9F39-2F47-A862-787FE18E64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66002" y="5428821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75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319BDAAD-D971-44E3-2963-12E25D8439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816" y="2904896"/>
            <a:ext cx="2242367" cy="1048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97562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117938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>
            <a:extLst>
              <a:ext uri="{FF2B5EF4-FFF2-40B4-BE49-F238E27FC236}">
                <a16:creationId xmlns:a16="http://schemas.microsoft.com/office/drawing/2014/main" id="{D96D9364-189A-1BED-D214-A365BA8744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17317" y="2986917"/>
            <a:ext cx="2157366" cy="88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74331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bg>
      <p:bgPr>
        <a:solidFill>
          <a:srgbClr val="004A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4F7FCC-439D-B94C-A689-2CC350BDEB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1579" y="1983138"/>
            <a:ext cx="10017551" cy="2387600"/>
          </a:xfrm>
        </p:spPr>
        <p:txBody>
          <a:bodyPr anchor="b">
            <a:normAutofit/>
          </a:bodyPr>
          <a:lstStyle>
            <a:lvl1pPr algn="l">
              <a:defRPr lang="es-CL" sz="3600" b="1" kern="1200" spc="-15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10EA85-8C5A-7842-B0BA-B08D20BBD1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1578" y="6018714"/>
            <a:ext cx="10017551" cy="438647"/>
          </a:xfrm>
        </p:spPr>
        <p:txBody>
          <a:bodyPr>
            <a:normAutofit/>
          </a:bodyPr>
          <a:lstStyle>
            <a:lvl1pPr marL="0" indent="0" algn="l">
              <a:buNone/>
              <a:defRPr lang="es-CL" sz="1400" kern="1200" dirty="0">
                <a:solidFill>
                  <a:schemeClr val="accent5">
                    <a:lumMod val="60000"/>
                    <a:lumOff val="4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Nombre expositor | Cargo expositor | Mes 2020</a:t>
            </a:r>
            <a:endParaRPr lang="es-CL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D44B7779-E965-CA4D-9EA5-DA5B5C7334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06138" y="441325"/>
            <a:ext cx="635000" cy="6350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8570EFBA-24C9-D642-9F28-8868099872F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1578" y="1983138"/>
            <a:ext cx="6284762" cy="99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0533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87C1AE-A5E7-0649-8C35-50561BEA6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41325"/>
            <a:ext cx="8800070" cy="1325563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004A5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67B9D02-F56D-6A42-99A7-C72B6E7C20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2005012"/>
            <a:ext cx="11017250" cy="4351338"/>
          </a:xfrm>
        </p:spPr>
        <p:txBody>
          <a:bodyPr/>
          <a:lstStyle>
            <a:lvl1pPr marL="2286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85986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10">
          <p15:clr>
            <a:srgbClr val="FBAE40"/>
          </p15:clr>
        </p15:guide>
        <p15:guide id="2" orient="horz" pos="4065">
          <p15:clr>
            <a:srgbClr val="FBAE40"/>
          </p15:clr>
        </p15:guide>
        <p15:guide id="3" pos="347">
          <p15:clr>
            <a:srgbClr val="FBAE40"/>
          </p15:clr>
        </p15:guide>
        <p15:guide id="4" orient="horz" pos="278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B284AD3-DA1F-C94F-A358-BE3BC8C70D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63" y="2351669"/>
            <a:ext cx="4418467" cy="1805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97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Menú</a:t>
            </a:r>
            <a:endParaRPr lang="es-CL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2264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77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0B213D-8867-D142-8D90-9F4B25F1F40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181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5D52F1-0FA1-FAB3-B385-08FEE5868F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6" r="15604"/>
          <a:stretch/>
        </p:blipFill>
        <p:spPr>
          <a:xfrm>
            <a:off x="0" y="0"/>
            <a:ext cx="635000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5F600FA4-D0A2-8949-8FD6-E129C30DA8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519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88D149-E665-2692-538D-A495EBE4A2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C970606F-8436-C446-883F-1F20759B73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922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1E32865B-70DB-344E-9066-483DD14F91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0686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5750290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4117271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9E6D8A-C320-7B8A-750B-8E53CB8AFB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7" r="10387"/>
          <a:stretch/>
        </p:blipFill>
        <p:spPr>
          <a:xfrm>
            <a:off x="3549642" y="0"/>
            <a:ext cx="7691382" cy="6857999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0130BCDC-C265-2243-A7EC-930203A0172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610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2230476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597457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DC1B6E-E33C-3FF9-24FE-2E352ACB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4083484" y="1"/>
            <a:ext cx="8108516" cy="6858000"/>
          </a:xfrm>
          <a:prstGeom prst="rect">
            <a:avLst/>
          </a:prstGeom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924D1FB4-1178-2F4A-A5DD-5B08C9C270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41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20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</a:t>
            </a:r>
          </a:p>
          <a:p>
            <a:pPr lvl="0"/>
            <a:r>
              <a:rPr lang="es-ES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C799E6A4-4C39-4044-9E70-2C36E11685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842742"/>
      </p:ext>
    </p:extLst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6595D45-3E0C-751A-B022-9C87CFFF2F1B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1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Texto</a:t>
            </a:r>
            <a:r>
              <a:rPr lang="en-US" sz="1200" b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de </a:t>
            </a:r>
            <a:r>
              <a:rPr lang="en-US" sz="1200" b="1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apoyo</a:t>
            </a:r>
            <a:r>
              <a:rPr lang="en-US" sz="1200" b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o </a:t>
            </a:r>
            <a:r>
              <a:rPr lang="en-US" sz="1200" b="1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subtítulo</a:t>
            </a:r>
            <a:endParaRPr sz="1200" b="1">
              <a:solidFill>
                <a:srgbClr val="014B14"/>
              </a:solidFill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6371A669-6E98-684F-AA09-CAF189C7B79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26258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orient="horz" pos="77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048226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61616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Asociación Chilena de Seguridad…">
            <a:extLst>
              <a:ext uri="{FF2B5EF4-FFF2-40B4-BE49-F238E27FC236}">
                <a16:creationId xmlns:a16="http://schemas.microsoft.com/office/drawing/2014/main" id="{0566E8CB-CFA5-0993-8848-2224E724D0A1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1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Texto</a:t>
            </a:r>
            <a:r>
              <a:rPr lang="en-US" sz="1200" b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de </a:t>
            </a:r>
            <a:r>
              <a:rPr lang="en-US" sz="1200" b="1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apoyo</a:t>
            </a:r>
            <a:r>
              <a:rPr lang="en-US" sz="1200" b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o </a:t>
            </a:r>
            <a:r>
              <a:rPr lang="en-US" sz="1200" b="1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subtítulo</a:t>
            </a:r>
            <a:endParaRPr sz="1200" b="1">
              <a:solidFill>
                <a:srgbClr val="014B14"/>
              </a:solidFill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F406DD75-EFED-8148-B3B9-76FA0FDA661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716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1E32865B-70DB-344E-9066-483DD14F91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02105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E3E6E6E-A03E-9049-B7ED-474D11A172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35171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24252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importante Arial Regular - 88 puntos máximo 5 líneas</a:t>
            </a:r>
            <a:endParaRPr lang="es-CL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D15BCFF8-69B7-E644-B5A1-9402DA47BA7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39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“Frase entre comillas” Arial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6201F724-207C-5742-B341-05366E40EF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392335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090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E3E6E6E-A03E-9049-B7ED-474D11A172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79786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40 puntos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9">
            <a:extLst>
              <a:ext uri="{FF2B5EF4-FFF2-40B4-BE49-F238E27FC236}">
                <a16:creationId xmlns:a16="http://schemas.microsoft.com/office/drawing/2014/main" id="{1D273B15-8ED6-474F-97CC-C2D75BC6FC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61390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07">
          <p15:clr>
            <a:srgbClr val="FBAE40"/>
          </p15:clr>
        </p15:guide>
        <p15:guide id="6" orient="horz" pos="2160">
          <p15:clr>
            <a:srgbClr val="FBAE40"/>
          </p15:clr>
        </p15:guide>
        <p15:guide id="7" orient="horz" pos="1139">
          <p15:clr>
            <a:srgbClr val="FBAE40"/>
          </p15:clr>
        </p15:guide>
        <p15:guide id="8" orient="horz" pos="1915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B124D06C-2C82-9E6F-DA7A-EB00C9ECB3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73610" y="0"/>
            <a:ext cx="381838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08545" y="1118020"/>
            <a:ext cx="467318" cy="48666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112769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CB8010E-D6E1-90A8-7F57-14AE0A01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770" y="1118020"/>
            <a:ext cx="3312926" cy="17340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 Bold 40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BBA7E125-E594-77B9-1A2D-0D4C28B928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463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DDC9B715-6BC7-85FD-D5A1-9A32DDA0D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D8469DA-03C3-6758-7F02-47BF4B454AB4}"/>
              </a:ext>
            </a:extLst>
          </p:cNvPr>
          <p:cNvSpPr/>
          <p:nvPr userDrawn="1"/>
        </p:nvSpPr>
        <p:spPr>
          <a:xfrm>
            <a:off x="8373609" y="6110306"/>
            <a:ext cx="3818391" cy="747694"/>
          </a:xfrm>
          <a:custGeom>
            <a:avLst/>
            <a:gdLst>
              <a:gd name="connsiteX0" fmla="*/ 690432 w 3818391"/>
              <a:gd name="connsiteY0" fmla="*/ 0 h 747694"/>
              <a:gd name="connsiteX1" fmla="*/ 3818391 w 3818391"/>
              <a:gd name="connsiteY1" fmla="*/ 0 h 747694"/>
              <a:gd name="connsiteX2" fmla="*/ 3818391 w 3818391"/>
              <a:gd name="connsiteY2" fmla="*/ 747694 h 747694"/>
              <a:gd name="connsiteX3" fmla="*/ 5773 w 3818391"/>
              <a:gd name="connsiteY3" fmla="*/ 747694 h 747694"/>
              <a:gd name="connsiteX4" fmla="*/ 0 w 3818391"/>
              <a:gd name="connsiteY4" fmla="*/ 690432 h 747694"/>
              <a:gd name="connsiteX5" fmla="*/ 14027 w 3818391"/>
              <a:gd name="connsiteY5" fmla="*/ 551286 h 747694"/>
              <a:gd name="connsiteX6" fmla="*/ 690432 w 3818391"/>
              <a:gd name="connsiteY6" fmla="*/ 0 h 7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8391" h="747694">
                <a:moveTo>
                  <a:pt x="690432" y="0"/>
                </a:moveTo>
                <a:lnTo>
                  <a:pt x="3818391" y="0"/>
                </a:lnTo>
                <a:lnTo>
                  <a:pt x="3818391" y="747694"/>
                </a:lnTo>
                <a:lnTo>
                  <a:pt x="5773" y="747694"/>
                </a:lnTo>
                <a:lnTo>
                  <a:pt x="0" y="690432"/>
                </a:lnTo>
                <a:lnTo>
                  <a:pt x="14027" y="551286"/>
                </a:lnTo>
                <a:cubicBezTo>
                  <a:pt x="78407" y="236668"/>
                  <a:pt x="356781" y="0"/>
                  <a:pt x="690432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39568CE8-F416-6B48-938E-EBD604E68B3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08598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320">
          <p15:clr>
            <a:srgbClr val="FBAE40"/>
          </p15:clr>
        </p15:guide>
        <p15:guide id="3" orient="horz" pos="1207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2436">
          <p15:clr>
            <a:srgbClr val="FBAE40"/>
          </p15:clr>
        </p15:guide>
        <p15:guide id="6" orient="horz" pos="3042">
          <p15:clr>
            <a:srgbClr val="FBAE40"/>
          </p15:clr>
        </p15:guide>
        <p15:guide id="7" orient="horz" pos="3644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F3F4752F-E3DE-0A43-B945-CD93B39799E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17071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>
                <a:solidFill>
                  <a:schemeClr val="bg2"/>
                </a:solidFill>
              </a:rPr>
              <a:t>Texto Arial</a:t>
            </a:r>
            <a:br>
              <a:rPr lang="es-ES">
                <a:solidFill>
                  <a:schemeClr val="bg2"/>
                </a:solidFill>
              </a:rPr>
            </a:br>
            <a:r>
              <a:rPr lang="es-ES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EFF2E13-34D5-D1C8-EC0D-A20965AFD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530922" cy="720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Bold 20</a:t>
            </a:r>
            <a:endParaRPr lang="es-CL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id="{25206FC1-F6D3-11A5-B3D5-7675E749D69A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765B3316-AC7E-A2FD-4A87-49159049614B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D99BDDEB-4512-0143-8C1F-AF125C870B8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6254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924" y="2796470"/>
            <a:ext cx="132757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02709" y="2796470"/>
            <a:ext cx="132005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850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471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19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2F7BFBC3-CA9A-8B47-8E3D-1AFAE6C5F8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id="{37CA7630-BB44-4B4F-A531-A54553FD823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AD33653B-2F54-8A64-0A5D-244A87AAF0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CDCD40B7-6D0B-78D3-520D-597D07F2A72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2C3850F8-C051-1EF1-3196-55F33C10A09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391642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DD95BDA-861F-7810-DF0E-BA6FB5B40DD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367924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0140285F-AA43-6336-C29B-FB4CE180591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9326277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B8DC576C-15E6-FE41-990D-4FF687B547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62778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0">
          <p15:clr>
            <a:srgbClr val="FBAE40"/>
          </p15:clr>
        </p15:guide>
        <p15:guide id="3" pos="5541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5CBAC14D-C4ED-C1DE-687D-CCFA2D8B0D8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5EC1BBDE-9E66-E64E-A184-B8DBC3F961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714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246F6B8A-ADEC-F9A1-CA3A-0045A1F815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151D5F1C-F0CF-5827-76CB-C906753A49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B55854E0-EC58-48C9-AEB3-C034027A59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46F8515C-C4C5-0707-5CB5-B2ECFFCEEE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CD386A07-FD78-8D45-9FB2-5A2EBD6336B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065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82EC4D03-979B-F1AD-BB83-3B7EB2FF94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872E818A-143F-BF19-7783-5C9264AD62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BEA956F1-1F73-2B17-0B10-06F1E5DBB41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Marcador de texto 4">
            <a:extLst>
              <a:ext uri="{FF2B5EF4-FFF2-40B4-BE49-F238E27FC236}">
                <a16:creationId xmlns:a16="http://schemas.microsoft.com/office/drawing/2014/main" id="{52783BEF-14C5-56DE-742B-43A7A68B76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DFB357FC-7EBD-EB66-A093-085304D3A3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>
              <a:solidFill>
                <a:srgbClr val="FFFFFF"/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E079C94-C91E-EE4C-9698-4D039A3E0E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81711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C03588EA-230F-9F48-26D4-2AB8AFE97D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3FF76E71-3FB3-0869-F050-64E99B5B0AC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48136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B9E21CD9-275B-8CFC-6E42-93BDE7CC4A4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1A1C1CD-8F65-3A22-D009-D17B4CED89A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9">
            <a:extLst>
              <a:ext uri="{FF2B5EF4-FFF2-40B4-BE49-F238E27FC236}">
                <a16:creationId xmlns:a16="http://schemas.microsoft.com/office/drawing/2014/main" id="{8597D40C-6AA4-DE48-8FA8-8E5105CFB5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57126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6D5FCCB-CEE8-8546-3842-6497153356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D96FBA1A-B927-BCCE-9434-CC56062C0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CCB24AB1-8E8C-6980-5BD9-B08FACFC03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736166"/>
            <a:ext cx="1823274" cy="136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94771" y="1723432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931311" y="1736165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774E1248-A19B-26E0-EA97-FC38FE93E0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274090"/>
            <a:ext cx="185956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00A1877B-9B6D-001B-3C65-5A8E93CC36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908544"/>
            <a:ext cx="1859561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A95262CA-4965-4B33-D9F2-3909FE7D85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274090"/>
            <a:ext cx="183474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8" name="Marcador de texto 7">
            <a:extLst>
              <a:ext uri="{FF2B5EF4-FFF2-40B4-BE49-F238E27FC236}">
                <a16:creationId xmlns:a16="http://schemas.microsoft.com/office/drawing/2014/main" id="{AC26C04D-B937-D86D-390F-F16186A16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98423"/>
            <a:ext cx="1834741" cy="1849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9" name="Marcador de texto 7">
            <a:extLst>
              <a:ext uri="{FF2B5EF4-FFF2-40B4-BE49-F238E27FC236}">
                <a16:creationId xmlns:a16="http://schemas.microsoft.com/office/drawing/2014/main" id="{C6D99C93-698E-3BDB-8773-9A36439AB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274090"/>
            <a:ext cx="1816955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7C0AC188-A451-8772-5B59-7E3B1E835E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908544"/>
            <a:ext cx="1816955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60" name="Marcador de texto 4">
            <a:extLst>
              <a:ext uri="{FF2B5EF4-FFF2-40B4-BE49-F238E27FC236}">
                <a16:creationId xmlns:a16="http://schemas.microsoft.com/office/drawing/2014/main" id="{5221DF9A-FB73-6073-85BD-064962813B7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62" name="Marcador de número de diapositiva 1">
            <a:extLst>
              <a:ext uri="{FF2B5EF4-FFF2-40B4-BE49-F238E27FC236}">
                <a16:creationId xmlns:a16="http://schemas.microsoft.com/office/drawing/2014/main" id="{001BA4EB-0D60-8A71-D259-DA60A668F28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496A6CF1-D23F-1039-F86B-830CB70B2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64" name="Marcador de texto 7">
            <a:extLst>
              <a:ext uri="{FF2B5EF4-FFF2-40B4-BE49-F238E27FC236}">
                <a16:creationId xmlns:a16="http://schemas.microsoft.com/office/drawing/2014/main" id="{EC47FD3F-4E56-5A3D-F2FF-B06D6BC725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0E9EFC4E-37C9-D23F-3FB5-4B8E7702954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0DFFBD6C-3C08-6E43-B9F5-5E05FD52AA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83956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06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118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8897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 userDrawn="1">
          <p15:clr>
            <a:srgbClr val="FBAE40"/>
          </p15:clr>
        </p15:guide>
        <p15:guide id="2" orient="horz" pos="1548" userDrawn="1">
          <p15:clr>
            <a:srgbClr val="FBAE40"/>
          </p15:clr>
        </p15:guide>
        <p15:guide id="3" pos="1232" userDrawn="1">
          <p15:clr>
            <a:srgbClr val="FBAE40"/>
          </p15:clr>
        </p15:guide>
        <p15:guide id="4" pos="3281" userDrawn="1">
          <p15:clr>
            <a:srgbClr val="FBAE40"/>
          </p15:clr>
        </p15:guide>
        <p15:guide id="5" pos="5339" userDrawn="1">
          <p15:clr>
            <a:srgbClr val="FBAE40"/>
          </p15:clr>
        </p15:guide>
        <p15:guide id="6" orient="horz" pos="2809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D78F12CD-CCBE-600D-4EDC-45AFB213C4EE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4916A15D-85C0-D990-750F-46719AB0AA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250402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3D500E11-6B82-9829-F80C-CF7B10FDFFC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C164548E-2F65-D8AC-31F2-081ACB41C4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25040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5226E6AD-62A9-4B33-B326-D20D75B379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25040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0BD11890-6BED-0C22-0006-86C73A0EFB2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505AAF8-DBC1-86F4-068C-833CF0721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CEBB59B5-68B9-667F-AC17-76E38BCA85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443C8FB3-0736-3E6C-6EF2-7652174A3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1305" y="1715225"/>
            <a:ext cx="5727986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3A3F9F0D-B7EE-E8E0-7967-584C37AC1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357" y="1708056"/>
            <a:ext cx="151694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AF44F2-F50C-B20C-43BB-056F974B62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71305" y="3240179"/>
            <a:ext cx="5727986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1007EA0A-1BCB-4801-6B85-BA42585CC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357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0418B0B8-C98A-DC11-DE96-9F376F0C93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1305" y="4722386"/>
            <a:ext cx="5727986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C16C7670-A916-B1FD-AAE9-E26102044D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4357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2" name="Picture 9">
            <a:extLst>
              <a:ext uri="{FF2B5EF4-FFF2-40B4-BE49-F238E27FC236}">
                <a16:creationId xmlns:a16="http://schemas.microsoft.com/office/drawing/2014/main" id="{01E58C8B-B6EE-DC46-9956-AC75DE22C9B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74285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EB19DFDF-4EBC-49FB-3A6E-319D14B3070A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1715225"/>
            <a:ext cx="4033335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110" y="1708056"/>
            <a:ext cx="148608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1708055"/>
            <a:ext cx="1719866" cy="1271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240179"/>
            <a:ext cx="4033335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19110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19110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AFC37D72-A3D0-6E30-A74D-7EFAC3C3E74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689269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AC3CB731-A91D-CC70-0F6C-C9B6DD7E77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68926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5F3D34A6-E919-A400-A10E-1465829B358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7689269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</a:t>
            </a:r>
            <a:r>
              <a:rPr lang="es-ES" err="1"/>
              <a:t>Achs</a:t>
            </a:r>
            <a:r>
              <a:rPr lang="es-ES"/>
              <a:t> Nueva Sans 9</a:t>
            </a:r>
          </a:p>
          <a:p>
            <a:pPr lvl="0"/>
            <a:r>
              <a:rPr lang="es-CL"/>
              <a:t>Texto secundario fuente </a:t>
            </a:r>
            <a:r>
              <a:rPr lang="es-ES" err="1"/>
              <a:t>Achs</a:t>
            </a:r>
            <a:r>
              <a:rPr lang="es-ES"/>
              <a:t> Nueva Sans</a:t>
            </a:r>
            <a:r>
              <a:rPr lang="es-CL"/>
              <a:t>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E3297B15-067E-88AF-4604-CC120AC892E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2F82686A-3A75-0782-8E63-D9864E4E0A7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F13131BE-610C-AAD3-A365-8EFCEF748A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7E613AF8-8B35-80E7-8D5A-2B2EAC3F57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posición de imagen 2">
            <a:extLst>
              <a:ext uri="{FF2B5EF4-FFF2-40B4-BE49-F238E27FC236}">
                <a16:creationId xmlns:a16="http://schemas.microsoft.com/office/drawing/2014/main" id="{ACDBD7E0-DC6A-FA03-5AF4-29BCFC4EB0B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56901" y="3236589"/>
            <a:ext cx="1711851" cy="12454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id="{6F5D458B-4DE9-03F0-F77D-9B363B903DE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3581" y="4722387"/>
            <a:ext cx="1719866" cy="131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30507858-6B48-9E41-AD16-D020E85676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21710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5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5FC4E1-33E0-CC3D-0C60-972417AC6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64231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460CC22F-CFA0-9148-8FD8-AF8F65118A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764231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1540C177-D42A-CB0E-FA33-D6DC18F1E3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8" y="6467632"/>
            <a:ext cx="7642690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4D78B011-CE17-B0ED-3D82-B18CD64580C5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8DBD71AE-8A3D-D196-C8B1-FE7DDF8C487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4" name="Picture 9">
            <a:extLst>
              <a:ext uri="{FF2B5EF4-FFF2-40B4-BE49-F238E27FC236}">
                <a16:creationId xmlns:a16="http://schemas.microsoft.com/office/drawing/2014/main" id="{75C99C3D-5ECB-4B47-A454-878F8E7CDE2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90630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orient="horz" pos="1094">
          <p15:clr>
            <a:srgbClr val="FBAE40"/>
          </p15:clr>
        </p15:guide>
        <p15:guide id="3" orient="horz" pos="2546">
          <p15:clr>
            <a:srgbClr val="FBAE40"/>
          </p15:clr>
        </p15:guide>
        <p15:guide id="4" orient="horz" pos="3816">
          <p15:clr>
            <a:srgbClr val="FBAE40"/>
          </p15:clr>
        </p15:guide>
        <p15:guide id="5" pos="1504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CD5571-1A37-8742-633B-FDE4289A56D3}"/>
              </a:ext>
            </a:extLst>
          </p:cNvPr>
          <p:cNvSpPr/>
          <p:nvPr userDrawn="1"/>
        </p:nvSpPr>
        <p:spPr>
          <a:xfrm>
            <a:off x="2229912" y="2074602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0283" y="2074603"/>
            <a:ext cx="4450633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4878" y="1635136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4223" y="1635136"/>
            <a:ext cx="2821844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54878" y="2226863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226863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283" y="3688250"/>
            <a:ext cx="445063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54878" y="3248783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54223" y="3248783"/>
            <a:ext cx="2821845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831728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80281" y="5452834"/>
            <a:ext cx="4450635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54878" y="5013367"/>
            <a:ext cx="1722600" cy="2709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80281" y="5013367"/>
            <a:ext cx="2821843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585536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" name="Marcador de número de diapositiva 1">
            <a:extLst>
              <a:ext uri="{FF2B5EF4-FFF2-40B4-BE49-F238E27FC236}">
                <a16:creationId xmlns:a16="http://schemas.microsoft.com/office/drawing/2014/main" id="{8114EADB-A1A6-5D54-56EB-AB33D8130ED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90BE40-E8AE-DD4F-9CDF-DF776AC898E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681656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635AF030-1BFB-1DC6-320D-92F3ECE187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68165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8FCC25A4-9E37-FA79-3D5F-A3D449EF169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8888" y="6467632"/>
            <a:ext cx="868165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11A1840-D890-4448-4701-DD0761E643F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FB200DAD-01BA-E815-15BF-F2E2808FFD78}"/>
              </a:ext>
            </a:extLst>
          </p:cNvPr>
          <p:cNvSpPr/>
          <p:nvPr userDrawn="1"/>
        </p:nvSpPr>
        <p:spPr>
          <a:xfrm>
            <a:off x="2229912" y="3679467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D51ED2C1-130A-17CB-8A26-485E1ED1FD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354878" y="3831728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C23D7D8-A36A-FCFA-C363-1E3AACD9EC82}"/>
              </a:ext>
            </a:extLst>
          </p:cNvPr>
          <p:cNvSpPr/>
          <p:nvPr userDrawn="1"/>
        </p:nvSpPr>
        <p:spPr>
          <a:xfrm>
            <a:off x="2229912" y="5452284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0B15884B-AD96-F417-E810-6FC0456CBD1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354878" y="5604545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32" name="Picture 9">
            <a:extLst>
              <a:ext uri="{FF2B5EF4-FFF2-40B4-BE49-F238E27FC236}">
                <a16:creationId xmlns:a16="http://schemas.microsoft.com/office/drawing/2014/main" id="{8772F3A8-1D99-6641-B3F7-B75A3ECB0D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66752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FCADB6DF-75B4-08A8-CFD3-088844059BC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62515" y="1915097"/>
            <a:ext cx="0" cy="42662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76AF13A1-963E-1349-B0F8-BC3764CA0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89077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5635CE05-A8B6-0F9D-8524-AC66A4CB21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88D966E8-7EA5-758A-7F8B-5D4DD100B2A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16672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380A6EC-B8CC-900A-BA04-159F8F127C1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16672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2D4286EE-15ED-C598-A2B5-8344B126A78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5" name="Picture 9">
            <a:extLst>
              <a:ext uri="{FF2B5EF4-FFF2-40B4-BE49-F238E27FC236}">
                <a16:creationId xmlns:a16="http://schemas.microsoft.com/office/drawing/2014/main" id="{82A4F448-A111-C04A-BD52-267DA58C44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85847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Insertar gráfico o carta </a:t>
            </a:r>
            <a:r>
              <a:rPr lang="es-ES" err="1"/>
              <a:t>gantt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77D00938-9212-2EB2-FA3E-A411D669549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95971976-0E83-FEA9-D8E3-EF53C32CED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4ECEDE42-346E-73AF-914F-DDAF094C05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7602F1B-E0CD-1B18-2D9E-01D2A99AEF9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7A130A72-D212-A248-89EA-57FD7F4D95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39631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2"/>
            <a:ext cx="5162397" cy="2403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0"/>
            <a:ext cx="4378769" cy="3676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3959900" cy="3903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id="{2A60C413-F74F-A342-BF7D-FEA64A016E3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54361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203F6A84-F147-7F57-D340-54C63B0BD06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9D38886-94D1-A6ED-4569-789456D09F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E178C68-7235-DC4D-A33B-C70CDC8EEF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9379B90-7EEC-2E3F-1CF0-DB9DD7789CB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9">
            <a:extLst>
              <a:ext uri="{FF2B5EF4-FFF2-40B4-BE49-F238E27FC236}">
                <a16:creationId xmlns:a16="http://schemas.microsoft.com/office/drawing/2014/main" id="{7AAA2658-B479-A44D-BC0D-8B81C32F26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564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5632">
          <p15:clr>
            <a:srgbClr val="FBAE40"/>
          </p15:clr>
        </p15:guide>
        <p15:guide id="3" pos="3840">
          <p15:clr>
            <a:srgbClr val="FBAE40"/>
          </p15:clr>
        </p15:guide>
        <p15:guide id="4" pos="2048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F91C7D0D-913E-2BD6-A029-C1F997C4310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EC21E73-5744-D27B-8CBE-8A518E2D3F7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6E500EB6-4F25-F564-5C80-21656E61914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id="{D2BC01B7-7F51-FE41-8A90-8B20D4F886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09059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8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importante Arial Regular - 88 puntos máximo 5 líneas</a:t>
            </a:r>
            <a:endParaRPr lang="es-CL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D15BCFF8-69B7-E644-B5A1-9402DA47BA7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61287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4C91283-45D0-3E03-A9FF-55BCD9B704C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47A559D5-DF30-4ACD-5D59-ED98AE3999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90704A90-4770-B1C4-DCF5-87CDF83645F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id="{9A5072A0-4002-E44F-8370-B6A8779A5F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45402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7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  <p15:guide id="6" orient="horz" pos="667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FFFAE49-5C7E-779C-FE0C-21EA6D7F834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A277397-57FC-D54F-7087-3C738FBAC4C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número de diapositiva 1">
            <a:extLst>
              <a:ext uri="{FF2B5EF4-FFF2-40B4-BE49-F238E27FC236}">
                <a16:creationId xmlns:a16="http://schemas.microsoft.com/office/drawing/2014/main" id="{1989735B-7A49-B1CB-8DF1-075E71B8E0E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A569BEF4-D7E2-6D05-14BD-07EA960ADB8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id="{A10D525C-D188-C74B-8970-72D92A292A7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22950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27203670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70590474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99993" y="1956390"/>
            <a:ext cx="2028380" cy="1429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65021" y="3596958"/>
            <a:ext cx="3661513" cy="25803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534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5346" y="3596958"/>
            <a:ext cx="3103602" cy="2187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76681" y="1446028"/>
            <a:ext cx="2752592" cy="1939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069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9" name="Picture 9">
            <a:extLst>
              <a:ext uri="{FF2B5EF4-FFF2-40B4-BE49-F238E27FC236}">
                <a16:creationId xmlns:a16="http://schemas.microsoft.com/office/drawing/2014/main" id="{277926F9-7738-E54C-AFDC-1307B1227F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5022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CF1D8DA-AE91-B336-5F4F-622ABF73F891}"/>
              </a:ext>
            </a:extLst>
          </p:cNvPr>
          <p:cNvGrpSpPr/>
          <p:nvPr userDrawn="1"/>
        </p:nvGrpSpPr>
        <p:grpSpPr>
          <a:xfrm>
            <a:off x="3858" y="6170736"/>
            <a:ext cx="12188142" cy="769918"/>
            <a:chOff x="3858" y="6152399"/>
            <a:chExt cx="12478428" cy="78825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93BFBBF-EA61-7CDE-8490-495FA9B23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10800000">
              <a:off x="3858" y="6155622"/>
              <a:ext cx="9722734" cy="7023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4C8EA7-94E9-33E0-B16D-5DEC620A0A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300" t="-11714"/>
            <a:stretch/>
          </p:blipFill>
          <p:spPr>
            <a:xfrm rot="10800000">
              <a:off x="9713918" y="6152399"/>
              <a:ext cx="2768368" cy="788255"/>
            </a:xfrm>
            <a:prstGeom prst="rect">
              <a:avLst/>
            </a:prstGeom>
          </p:spPr>
        </p:pic>
      </p:grp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4" y="6463751"/>
            <a:ext cx="8347074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0192107" y="6463750"/>
            <a:ext cx="1542766" cy="276989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id="{543DA8BA-4F7D-714C-AC44-D7DAA46C1F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8260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ACCBF752-43F9-3D42-A021-FF715DC7715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31726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7336333D-C26B-EB07-8FBD-B3FD72C3649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60516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232B572-5761-5C00-420A-B9EDA9F646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19199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5E27719-0FF0-A561-FD72-4E80D63799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rgbClr val="1E11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55248617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“Frase entre comillas” Arial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6201F724-207C-5742-B341-05366E40EF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392335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32238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C4780D07-F93A-DD47-B2C4-CBAED270497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6319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1292E102-2234-9AE9-43F9-1A80E7A5AA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1233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EA46E090-29E9-6D24-97F3-40AB9216DD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969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E5DFB5B-6456-EFCA-2081-B512D51BE5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4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0A35E31-20A2-1E54-42EB-771CE83B16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1233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95935E3-04B2-E6B4-BD22-022586D55B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DA74DE6B-B246-971B-3BA6-AEDE507248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6" name="Conector recto 18">
            <a:extLst>
              <a:ext uri="{FF2B5EF4-FFF2-40B4-BE49-F238E27FC236}">
                <a16:creationId xmlns:a16="http://schemas.microsoft.com/office/drawing/2014/main" id="{79A3939C-E2E4-90BA-D536-FE400D5D888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id="{0AAD014A-0DF0-AC4A-9E64-8615A5ADB1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67859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E5CD9CBF-A93C-DD43-BF3E-8C7BA32A5DE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EBA8D440-0ABE-BD82-A4B3-13C03758693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B55A5C5-BD37-44C3-9A85-00B45CBFFE2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D5F2992-1A52-D84B-F77B-33F2FC0BD6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208133AB-8C7A-F335-9011-A3A3DFE5630F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5C887ED0-03D5-5A27-4D89-5F15E5AC38E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C69A6064-99A3-CF43-9426-0E7E1FBFBC6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327090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Muchas</a:t>
            </a:r>
          </a:p>
          <a:p>
            <a:pPr lvl="0"/>
            <a:r>
              <a:rPr lang="es-ES"/>
              <a:t>gracias!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www.achs.cl</a:t>
            </a:r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2D6A441B-9F39-2F47-A862-787FE18E64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66002" y="5428821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917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319BDAAD-D971-44E3-2963-12E25D8439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816" y="2904896"/>
            <a:ext cx="2242367" cy="1048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18891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>
            <a:extLst>
              <a:ext uri="{FF2B5EF4-FFF2-40B4-BE49-F238E27FC236}">
                <a16:creationId xmlns:a16="http://schemas.microsoft.com/office/drawing/2014/main" id="{D96D9364-189A-1BED-D214-A365BA8744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17317" y="2986917"/>
            <a:ext cx="2157366" cy="88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8943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e de pá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0E1EB5-C47E-4365-90B8-B587584F7E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70" imgH="371" progId="TCLayout.ActiveDocument.1">
                  <p:embed/>
                </p:oleObj>
              </mc:Choice>
              <mc:Fallback>
                <p:oleObj name="Diapositiva de think-cell" r:id="rId3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0E1EB5-C47E-4365-90B8-B587584F7E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87" y="466736"/>
            <a:ext cx="11725484" cy="3140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>
              <a:solidFill>
                <a:srgbClr val="002A6C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99A05D7-46BD-4D2F-9B0C-1CACF1B3FE2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892321" y="664338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AR" sz="816" smtClean="0">
                <a:solidFill>
                  <a:srgbClr val="002A6C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Nº›</a:t>
            </a:fld>
            <a:endParaRPr lang="es-AR" sz="816">
              <a:solidFill>
                <a:srgbClr val="002A6C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78B1231-4B26-4335-AAC6-023EAAFC3979}"/>
              </a:ext>
            </a:extLst>
          </p:cNvPr>
          <p:cNvCxnSpPr/>
          <p:nvPr userDrawn="1"/>
        </p:nvCxnSpPr>
        <p:spPr>
          <a:xfrm>
            <a:off x="11798897" y="6792822"/>
            <a:ext cx="315089" cy="0"/>
          </a:xfrm>
          <a:prstGeom prst="line">
            <a:avLst/>
          </a:prstGeom>
          <a:ln w="12700">
            <a:solidFill>
              <a:schemeClr val="accent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40DEA04A-A7FD-4940-82D1-CD2C4D13DC36}"/>
              </a:ext>
            </a:extLst>
          </p:cNvPr>
          <p:cNvSpPr/>
          <p:nvPr userDrawn="1"/>
        </p:nvSpPr>
        <p:spPr>
          <a:xfrm>
            <a:off x="161986" y="320877"/>
            <a:ext cx="922620" cy="4664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err="1">
              <a:solidFill>
                <a:srgbClr val="15BF45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Group 26">
            <a:extLst>
              <a:ext uri="{FF2B5EF4-FFF2-40B4-BE49-F238E27FC236}">
                <a16:creationId xmlns:a16="http://schemas.microsoft.com/office/drawing/2014/main" id="{8BC2E3A2-C95C-4B63-825A-38A492AB35F2}"/>
              </a:ext>
            </a:extLst>
          </p:cNvPr>
          <p:cNvGrpSpPr/>
          <p:nvPr userDrawn="1"/>
        </p:nvGrpSpPr>
        <p:grpSpPr>
          <a:xfrm>
            <a:off x="11310083" y="6439458"/>
            <a:ext cx="420822" cy="418542"/>
            <a:chOff x="-8636776" y="2758539"/>
            <a:chExt cx="6757987" cy="6721475"/>
          </a:xfrm>
        </p:grpSpPr>
        <p:sp>
          <p:nvSpPr>
            <p:cNvPr id="9" name="AutoShape 461">
              <a:extLst>
                <a:ext uri="{FF2B5EF4-FFF2-40B4-BE49-F238E27FC236}">
                  <a16:creationId xmlns:a16="http://schemas.microsoft.com/office/drawing/2014/main" id="{DEC92128-4DB5-4E60-A6EF-2FFD0C237B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837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Rectangle 463">
              <a:extLst>
                <a:ext uri="{FF2B5EF4-FFF2-40B4-BE49-F238E27FC236}">
                  <a16:creationId xmlns:a16="http://schemas.microsoft.com/office/drawing/2014/main" id="{9866ABBF-C610-455F-AAC3-33CD0A949B4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8636776" y="2758539"/>
              <a:ext cx="6757987" cy="6721475"/>
            </a:xfrm>
            <a:prstGeom prst="rect">
              <a:avLst/>
            </a:prstGeom>
            <a:solidFill>
              <a:srgbClr val="007F46"/>
            </a:solidFill>
            <a:ln w="0" cap="flat">
              <a:solidFill>
                <a:srgbClr val="007F4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837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Freeform 464">
              <a:extLst>
                <a:ext uri="{FF2B5EF4-FFF2-40B4-BE49-F238E27FC236}">
                  <a16:creationId xmlns:a16="http://schemas.microsoft.com/office/drawing/2014/main" id="{6B31BCEC-3288-4BD7-9CA4-7FF0574B9A5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065276" y="6873339"/>
              <a:ext cx="5680075" cy="2028825"/>
            </a:xfrm>
            <a:custGeom>
              <a:avLst/>
              <a:gdLst>
                <a:gd name="T0" fmla="*/ 1492 w 10049"/>
                <a:gd name="T1" fmla="*/ 917 h 3594"/>
                <a:gd name="T2" fmla="*/ 973 w 10049"/>
                <a:gd name="T3" fmla="*/ 912 h 3594"/>
                <a:gd name="T4" fmla="*/ 877 w 10049"/>
                <a:gd name="T5" fmla="*/ 2052 h 3594"/>
                <a:gd name="T6" fmla="*/ 1593 w 10049"/>
                <a:gd name="T7" fmla="*/ 1235 h 3594"/>
                <a:gd name="T8" fmla="*/ 0 w 10049"/>
                <a:gd name="T9" fmla="*/ 1275 h 3594"/>
                <a:gd name="T10" fmla="*/ 877 w 10049"/>
                <a:gd name="T11" fmla="*/ 3594 h 3594"/>
                <a:gd name="T12" fmla="*/ 1594 w 10049"/>
                <a:gd name="T13" fmla="*/ 2849 h 3594"/>
                <a:gd name="T14" fmla="*/ 2475 w 10049"/>
                <a:gd name="T15" fmla="*/ 3594 h 3594"/>
                <a:gd name="T16" fmla="*/ 2132 w 10049"/>
                <a:gd name="T17" fmla="*/ 352 h 3594"/>
                <a:gd name="T18" fmla="*/ 338 w 10049"/>
                <a:gd name="T19" fmla="*/ 352 h 3594"/>
                <a:gd name="T20" fmla="*/ 5168 w 10049"/>
                <a:gd name="T21" fmla="*/ 3592 h 3594"/>
                <a:gd name="T22" fmla="*/ 6038 w 10049"/>
                <a:gd name="T23" fmla="*/ 2254 h 3594"/>
                <a:gd name="T24" fmla="*/ 6733 w 10049"/>
                <a:gd name="T25" fmla="*/ 3594 h 3594"/>
                <a:gd name="T26" fmla="*/ 7616 w 10049"/>
                <a:gd name="T27" fmla="*/ 60 h 3594"/>
                <a:gd name="T28" fmla="*/ 6733 w 10049"/>
                <a:gd name="T29" fmla="*/ 1407 h 3594"/>
                <a:gd name="T30" fmla="*/ 6038 w 10049"/>
                <a:gd name="T31" fmla="*/ 60 h 3594"/>
                <a:gd name="T32" fmla="*/ 4882 w 10049"/>
                <a:gd name="T33" fmla="*/ 59 h 3594"/>
                <a:gd name="T34" fmla="*/ 3132 w 10049"/>
                <a:gd name="T35" fmla="*/ 574 h 3594"/>
                <a:gd name="T36" fmla="*/ 3132 w 10049"/>
                <a:gd name="T37" fmla="*/ 3080 h 3594"/>
                <a:gd name="T38" fmla="*/ 4895 w 10049"/>
                <a:gd name="T39" fmla="*/ 3587 h 3594"/>
                <a:gd name="T40" fmla="*/ 4462 w 10049"/>
                <a:gd name="T41" fmla="*/ 2746 h 3594"/>
                <a:gd name="T42" fmla="*/ 3585 w 10049"/>
                <a:gd name="T43" fmla="*/ 1829 h 3594"/>
                <a:gd name="T44" fmla="*/ 4462 w 10049"/>
                <a:gd name="T45" fmla="*/ 906 h 3594"/>
                <a:gd name="T46" fmla="*/ 4882 w 10049"/>
                <a:gd name="T47" fmla="*/ 59 h 3594"/>
                <a:gd name="T48" fmla="*/ 8138 w 10049"/>
                <a:gd name="T49" fmla="*/ 302 h 3594"/>
                <a:gd name="T50" fmla="*/ 8052 w 10049"/>
                <a:gd name="T51" fmla="*/ 1643 h 3594"/>
                <a:gd name="T52" fmla="*/ 9101 w 10049"/>
                <a:gd name="T53" fmla="*/ 2586 h 3594"/>
                <a:gd name="T54" fmla="*/ 7861 w 10049"/>
                <a:gd name="T55" fmla="*/ 2777 h 3594"/>
                <a:gd name="T56" fmla="*/ 8803 w 10049"/>
                <a:gd name="T57" fmla="*/ 3594 h 3594"/>
                <a:gd name="T58" fmla="*/ 10049 w 10049"/>
                <a:gd name="T59" fmla="*/ 2535 h 3594"/>
                <a:gd name="T60" fmla="*/ 9146 w 10049"/>
                <a:gd name="T61" fmla="*/ 1421 h 3594"/>
                <a:gd name="T62" fmla="*/ 8788 w 10049"/>
                <a:gd name="T63" fmla="*/ 912 h 3594"/>
                <a:gd name="T64" fmla="*/ 9822 w 10049"/>
                <a:gd name="T65" fmla="*/ 877 h 3594"/>
                <a:gd name="T66" fmla="*/ 8904 w 10049"/>
                <a:gd name="T67" fmla="*/ 60 h 3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49" h="3594">
                  <a:moveTo>
                    <a:pt x="1593" y="1235"/>
                  </a:moveTo>
                  <a:cubicBezTo>
                    <a:pt x="1593" y="1104"/>
                    <a:pt x="1563" y="998"/>
                    <a:pt x="1492" y="917"/>
                  </a:cubicBezTo>
                  <a:cubicBezTo>
                    <a:pt x="1432" y="836"/>
                    <a:pt x="1346" y="796"/>
                    <a:pt x="1235" y="796"/>
                  </a:cubicBezTo>
                  <a:cubicBezTo>
                    <a:pt x="1124" y="796"/>
                    <a:pt x="1039" y="831"/>
                    <a:pt x="973" y="912"/>
                  </a:cubicBezTo>
                  <a:cubicBezTo>
                    <a:pt x="913" y="988"/>
                    <a:pt x="882" y="1094"/>
                    <a:pt x="877" y="1235"/>
                  </a:cubicBezTo>
                  <a:cubicBezTo>
                    <a:pt x="877" y="2052"/>
                    <a:pt x="877" y="2052"/>
                    <a:pt x="877" y="2052"/>
                  </a:cubicBezTo>
                  <a:cubicBezTo>
                    <a:pt x="1601" y="2053"/>
                    <a:pt x="1601" y="2053"/>
                    <a:pt x="1601" y="2053"/>
                  </a:cubicBezTo>
                  <a:lnTo>
                    <a:pt x="1593" y="1235"/>
                  </a:lnTo>
                  <a:close/>
                  <a:moveTo>
                    <a:pt x="338" y="352"/>
                  </a:moveTo>
                  <a:cubicBezTo>
                    <a:pt x="111" y="584"/>
                    <a:pt x="0" y="892"/>
                    <a:pt x="0" y="1275"/>
                  </a:cubicBezTo>
                  <a:cubicBezTo>
                    <a:pt x="0" y="3594"/>
                    <a:pt x="0" y="3594"/>
                    <a:pt x="0" y="3594"/>
                  </a:cubicBezTo>
                  <a:cubicBezTo>
                    <a:pt x="877" y="3594"/>
                    <a:pt x="877" y="3594"/>
                    <a:pt x="877" y="3594"/>
                  </a:cubicBezTo>
                  <a:cubicBezTo>
                    <a:pt x="877" y="2849"/>
                    <a:pt x="877" y="2849"/>
                    <a:pt x="877" y="2849"/>
                  </a:cubicBezTo>
                  <a:cubicBezTo>
                    <a:pt x="1594" y="2849"/>
                    <a:pt x="1594" y="2849"/>
                    <a:pt x="1594" y="2849"/>
                  </a:cubicBezTo>
                  <a:cubicBezTo>
                    <a:pt x="1593" y="3594"/>
                    <a:pt x="1593" y="3594"/>
                    <a:pt x="1593" y="3594"/>
                  </a:cubicBezTo>
                  <a:cubicBezTo>
                    <a:pt x="2475" y="3594"/>
                    <a:pt x="2475" y="3594"/>
                    <a:pt x="2475" y="3594"/>
                  </a:cubicBezTo>
                  <a:cubicBezTo>
                    <a:pt x="2475" y="1275"/>
                    <a:pt x="2475" y="1275"/>
                    <a:pt x="2475" y="1275"/>
                  </a:cubicBezTo>
                  <a:cubicBezTo>
                    <a:pt x="2470" y="892"/>
                    <a:pt x="2359" y="584"/>
                    <a:pt x="2132" y="352"/>
                  </a:cubicBezTo>
                  <a:cubicBezTo>
                    <a:pt x="1900" y="116"/>
                    <a:pt x="1603" y="0"/>
                    <a:pt x="1233" y="2"/>
                  </a:cubicBezTo>
                  <a:cubicBezTo>
                    <a:pt x="862" y="5"/>
                    <a:pt x="565" y="121"/>
                    <a:pt x="338" y="352"/>
                  </a:cubicBezTo>
                  <a:close/>
                  <a:moveTo>
                    <a:pt x="5167" y="56"/>
                  </a:moveTo>
                  <a:cubicBezTo>
                    <a:pt x="5168" y="3592"/>
                    <a:pt x="5168" y="3592"/>
                    <a:pt x="5168" y="3592"/>
                  </a:cubicBezTo>
                  <a:cubicBezTo>
                    <a:pt x="6038" y="3594"/>
                    <a:pt x="6038" y="3594"/>
                    <a:pt x="6038" y="3594"/>
                  </a:cubicBezTo>
                  <a:cubicBezTo>
                    <a:pt x="6038" y="2254"/>
                    <a:pt x="6038" y="2254"/>
                    <a:pt x="6038" y="2254"/>
                  </a:cubicBezTo>
                  <a:cubicBezTo>
                    <a:pt x="6733" y="2254"/>
                    <a:pt x="6733" y="2254"/>
                    <a:pt x="6733" y="2254"/>
                  </a:cubicBezTo>
                  <a:cubicBezTo>
                    <a:pt x="6733" y="3594"/>
                    <a:pt x="6733" y="3594"/>
                    <a:pt x="6733" y="3594"/>
                  </a:cubicBezTo>
                  <a:cubicBezTo>
                    <a:pt x="7616" y="3594"/>
                    <a:pt x="7616" y="3594"/>
                    <a:pt x="7616" y="3594"/>
                  </a:cubicBezTo>
                  <a:cubicBezTo>
                    <a:pt x="7616" y="60"/>
                    <a:pt x="7616" y="60"/>
                    <a:pt x="7616" y="60"/>
                  </a:cubicBezTo>
                  <a:cubicBezTo>
                    <a:pt x="6733" y="60"/>
                    <a:pt x="6733" y="60"/>
                    <a:pt x="6733" y="60"/>
                  </a:cubicBezTo>
                  <a:cubicBezTo>
                    <a:pt x="6733" y="1407"/>
                    <a:pt x="6733" y="1407"/>
                    <a:pt x="6733" y="1407"/>
                  </a:cubicBezTo>
                  <a:cubicBezTo>
                    <a:pt x="6038" y="1407"/>
                    <a:pt x="6038" y="1407"/>
                    <a:pt x="6038" y="1407"/>
                  </a:cubicBezTo>
                  <a:cubicBezTo>
                    <a:pt x="6038" y="60"/>
                    <a:pt x="6038" y="60"/>
                    <a:pt x="6038" y="60"/>
                  </a:cubicBezTo>
                  <a:cubicBezTo>
                    <a:pt x="5167" y="56"/>
                    <a:pt x="5167" y="56"/>
                    <a:pt x="5167" y="56"/>
                  </a:cubicBezTo>
                  <a:close/>
                  <a:moveTo>
                    <a:pt x="4882" y="59"/>
                  </a:moveTo>
                  <a:cubicBezTo>
                    <a:pt x="4301" y="60"/>
                    <a:pt x="4301" y="60"/>
                    <a:pt x="4301" y="60"/>
                  </a:cubicBezTo>
                  <a:cubicBezTo>
                    <a:pt x="3827" y="60"/>
                    <a:pt x="3439" y="232"/>
                    <a:pt x="3132" y="574"/>
                  </a:cubicBezTo>
                  <a:cubicBezTo>
                    <a:pt x="2819" y="917"/>
                    <a:pt x="2668" y="1336"/>
                    <a:pt x="2668" y="1830"/>
                  </a:cubicBezTo>
                  <a:cubicBezTo>
                    <a:pt x="2673" y="2324"/>
                    <a:pt x="2824" y="2737"/>
                    <a:pt x="3132" y="3080"/>
                  </a:cubicBezTo>
                  <a:cubicBezTo>
                    <a:pt x="3449" y="3423"/>
                    <a:pt x="3837" y="3594"/>
                    <a:pt x="4301" y="3594"/>
                  </a:cubicBezTo>
                  <a:cubicBezTo>
                    <a:pt x="4895" y="3587"/>
                    <a:pt x="4895" y="3587"/>
                    <a:pt x="4895" y="3587"/>
                  </a:cubicBezTo>
                  <a:cubicBezTo>
                    <a:pt x="4890" y="2745"/>
                    <a:pt x="4890" y="2745"/>
                    <a:pt x="4890" y="2745"/>
                  </a:cubicBezTo>
                  <a:cubicBezTo>
                    <a:pt x="4462" y="2746"/>
                    <a:pt x="4462" y="2746"/>
                    <a:pt x="4462" y="2746"/>
                  </a:cubicBezTo>
                  <a:cubicBezTo>
                    <a:pt x="4200" y="2741"/>
                    <a:pt x="3988" y="2666"/>
                    <a:pt x="3827" y="2515"/>
                  </a:cubicBezTo>
                  <a:cubicBezTo>
                    <a:pt x="3666" y="2353"/>
                    <a:pt x="3585" y="2126"/>
                    <a:pt x="3585" y="1829"/>
                  </a:cubicBezTo>
                  <a:cubicBezTo>
                    <a:pt x="3585" y="1521"/>
                    <a:pt x="3666" y="1295"/>
                    <a:pt x="3827" y="1143"/>
                  </a:cubicBezTo>
                  <a:cubicBezTo>
                    <a:pt x="3988" y="982"/>
                    <a:pt x="4200" y="906"/>
                    <a:pt x="4462" y="906"/>
                  </a:cubicBezTo>
                  <a:cubicBezTo>
                    <a:pt x="4882" y="906"/>
                    <a:pt x="4882" y="906"/>
                    <a:pt x="4882" y="906"/>
                  </a:cubicBezTo>
                  <a:lnTo>
                    <a:pt x="4882" y="59"/>
                  </a:lnTo>
                  <a:close/>
                  <a:moveTo>
                    <a:pt x="8904" y="60"/>
                  </a:moveTo>
                  <a:cubicBezTo>
                    <a:pt x="8592" y="60"/>
                    <a:pt x="8340" y="141"/>
                    <a:pt x="8138" y="302"/>
                  </a:cubicBezTo>
                  <a:cubicBezTo>
                    <a:pt x="7936" y="463"/>
                    <a:pt x="7836" y="716"/>
                    <a:pt x="7836" y="1058"/>
                  </a:cubicBezTo>
                  <a:cubicBezTo>
                    <a:pt x="7841" y="1310"/>
                    <a:pt x="7911" y="1502"/>
                    <a:pt x="8052" y="1643"/>
                  </a:cubicBezTo>
                  <a:cubicBezTo>
                    <a:pt x="8204" y="1789"/>
                    <a:pt x="8410" y="1956"/>
                    <a:pt x="8682" y="2152"/>
                  </a:cubicBezTo>
                  <a:cubicBezTo>
                    <a:pt x="8965" y="2354"/>
                    <a:pt x="9101" y="2495"/>
                    <a:pt x="9101" y="2586"/>
                  </a:cubicBezTo>
                  <a:cubicBezTo>
                    <a:pt x="9096" y="2717"/>
                    <a:pt x="8990" y="2777"/>
                    <a:pt x="8773" y="2777"/>
                  </a:cubicBezTo>
                  <a:cubicBezTo>
                    <a:pt x="7861" y="2777"/>
                    <a:pt x="7861" y="2777"/>
                    <a:pt x="7861" y="2777"/>
                  </a:cubicBezTo>
                  <a:cubicBezTo>
                    <a:pt x="7861" y="3594"/>
                    <a:pt x="7861" y="3594"/>
                    <a:pt x="7861" y="3594"/>
                  </a:cubicBezTo>
                  <a:cubicBezTo>
                    <a:pt x="8803" y="3594"/>
                    <a:pt x="8803" y="3594"/>
                    <a:pt x="8803" y="3594"/>
                  </a:cubicBezTo>
                  <a:cubicBezTo>
                    <a:pt x="9308" y="3594"/>
                    <a:pt x="9640" y="3493"/>
                    <a:pt x="9802" y="3291"/>
                  </a:cubicBezTo>
                  <a:cubicBezTo>
                    <a:pt x="9968" y="3090"/>
                    <a:pt x="10049" y="2838"/>
                    <a:pt x="10049" y="2535"/>
                  </a:cubicBezTo>
                  <a:cubicBezTo>
                    <a:pt x="10043" y="2288"/>
                    <a:pt x="9963" y="2092"/>
                    <a:pt x="9802" y="1935"/>
                  </a:cubicBezTo>
                  <a:cubicBezTo>
                    <a:pt x="9635" y="1774"/>
                    <a:pt x="9418" y="1603"/>
                    <a:pt x="9146" y="1421"/>
                  </a:cubicBezTo>
                  <a:cubicBezTo>
                    <a:pt x="8869" y="1230"/>
                    <a:pt x="8733" y="1099"/>
                    <a:pt x="8733" y="1023"/>
                  </a:cubicBezTo>
                  <a:cubicBezTo>
                    <a:pt x="8738" y="968"/>
                    <a:pt x="8753" y="932"/>
                    <a:pt x="8788" y="912"/>
                  </a:cubicBezTo>
                  <a:cubicBezTo>
                    <a:pt x="8829" y="887"/>
                    <a:pt x="8874" y="877"/>
                    <a:pt x="8934" y="877"/>
                  </a:cubicBezTo>
                  <a:cubicBezTo>
                    <a:pt x="9822" y="877"/>
                    <a:pt x="9822" y="877"/>
                    <a:pt x="9822" y="877"/>
                  </a:cubicBezTo>
                  <a:cubicBezTo>
                    <a:pt x="9822" y="60"/>
                    <a:pt x="9822" y="60"/>
                    <a:pt x="9822" y="60"/>
                  </a:cubicBezTo>
                  <a:lnTo>
                    <a:pt x="8904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837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8" name="Marcador de pie de página 3">
            <a:extLst>
              <a:ext uri="{FF2B5EF4-FFF2-40B4-BE49-F238E27FC236}">
                <a16:creationId xmlns:a16="http://schemas.microsoft.com/office/drawing/2014/main" id="{10BEC00D-782F-472A-A713-41FA2C2C05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7381" y="6433591"/>
            <a:ext cx="10657184" cy="30777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marL="564444" indent="-564444" defTabSz="922451">
              <a:tabLst>
                <a:tab pos="535870" algn="r"/>
              </a:tabLst>
            </a:pP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8639208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588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40 puntos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9">
            <a:extLst>
              <a:ext uri="{FF2B5EF4-FFF2-40B4-BE49-F238E27FC236}">
                <a16:creationId xmlns:a16="http://schemas.microsoft.com/office/drawing/2014/main" id="{1D273B15-8ED6-474F-97CC-C2D75BC6FC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89175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1997">
          <p15:clr>
            <a:srgbClr val="FBAE40"/>
          </p15:clr>
        </p15:guide>
        <p15:guide id="6" orient="horz" pos="3550">
          <p15:clr>
            <a:srgbClr val="FBAE40"/>
          </p15:clr>
        </p15:guide>
        <p15:guide id="7" orient="horz" pos="1207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1139">
          <p15:clr>
            <a:srgbClr val="FBAE40"/>
          </p15:clr>
        </p15:guide>
        <p15:guide id="10" orient="horz" pos="19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B124D06C-2C82-9E6F-DA7A-EB00C9ECB3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73610" y="0"/>
            <a:ext cx="381838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378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08545" y="1118020"/>
            <a:ext cx="467318" cy="48666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112769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CB8010E-D6E1-90A8-7F57-14AE0A01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770" y="1118020"/>
            <a:ext cx="3312926" cy="17340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 Bold 40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BBA7E125-E594-77B9-1A2D-0D4C28B928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463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DDC9B715-6BC7-85FD-D5A1-9A32DDA0D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D8469DA-03C3-6758-7F02-47BF4B454AB4}"/>
              </a:ext>
            </a:extLst>
          </p:cNvPr>
          <p:cNvSpPr/>
          <p:nvPr userDrawn="1"/>
        </p:nvSpPr>
        <p:spPr>
          <a:xfrm>
            <a:off x="8373609" y="6110306"/>
            <a:ext cx="3818391" cy="747694"/>
          </a:xfrm>
          <a:custGeom>
            <a:avLst/>
            <a:gdLst>
              <a:gd name="connsiteX0" fmla="*/ 690432 w 3818391"/>
              <a:gd name="connsiteY0" fmla="*/ 0 h 747694"/>
              <a:gd name="connsiteX1" fmla="*/ 3818391 w 3818391"/>
              <a:gd name="connsiteY1" fmla="*/ 0 h 747694"/>
              <a:gd name="connsiteX2" fmla="*/ 3818391 w 3818391"/>
              <a:gd name="connsiteY2" fmla="*/ 747694 h 747694"/>
              <a:gd name="connsiteX3" fmla="*/ 5773 w 3818391"/>
              <a:gd name="connsiteY3" fmla="*/ 747694 h 747694"/>
              <a:gd name="connsiteX4" fmla="*/ 0 w 3818391"/>
              <a:gd name="connsiteY4" fmla="*/ 690432 h 747694"/>
              <a:gd name="connsiteX5" fmla="*/ 14027 w 3818391"/>
              <a:gd name="connsiteY5" fmla="*/ 551286 h 747694"/>
              <a:gd name="connsiteX6" fmla="*/ 690432 w 3818391"/>
              <a:gd name="connsiteY6" fmla="*/ 0 h 7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8391" h="747694">
                <a:moveTo>
                  <a:pt x="690432" y="0"/>
                </a:moveTo>
                <a:lnTo>
                  <a:pt x="3818391" y="0"/>
                </a:lnTo>
                <a:lnTo>
                  <a:pt x="3818391" y="747694"/>
                </a:lnTo>
                <a:lnTo>
                  <a:pt x="5773" y="747694"/>
                </a:lnTo>
                <a:lnTo>
                  <a:pt x="0" y="690432"/>
                </a:lnTo>
                <a:lnTo>
                  <a:pt x="14027" y="551286"/>
                </a:lnTo>
                <a:cubicBezTo>
                  <a:pt x="78407" y="236668"/>
                  <a:pt x="356781" y="0"/>
                  <a:pt x="690432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39568CE8-F416-6B48-938E-EBD604E68B3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3192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9" orient="horz" pos="4320">
          <p15:clr>
            <a:srgbClr val="FBAE40"/>
          </p15:clr>
        </p15:guide>
        <p15:guide id="10" orient="horz" pos="1207">
          <p15:clr>
            <a:srgbClr val="FBAE40"/>
          </p15:clr>
        </p15:guide>
        <p15:guide id="11" orient="horz" pos="1830">
          <p15:clr>
            <a:srgbClr val="FBAE40"/>
          </p15:clr>
        </p15:guide>
        <p15:guide id="12" orient="horz" pos="2436">
          <p15:clr>
            <a:srgbClr val="FBAE40"/>
          </p15:clr>
        </p15:guide>
        <p15:guide id="13" orient="horz" pos="3042">
          <p15:clr>
            <a:srgbClr val="FBAE40"/>
          </p15:clr>
        </p15:guide>
        <p15:guide id="14" orient="horz" pos="364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F3F4752F-E3DE-0A43-B945-CD93B39799E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9187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>
                <a:solidFill>
                  <a:schemeClr val="bg2"/>
                </a:solidFill>
              </a:rPr>
              <a:t>Texto Arial</a:t>
            </a:r>
            <a:br>
              <a:rPr lang="es-ES">
                <a:solidFill>
                  <a:schemeClr val="bg2"/>
                </a:solidFill>
              </a:rPr>
            </a:br>
            <a:r>
              <a:rPr lang="es-ES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EFF2E13-34D5-D1C8-EC0D-A20965AFD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530922" cy="720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Bold 20</a:t>
            </a:r>
            <a:endParaRPr lang="es-CL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id="{25206FC1-F6D3-11A5-B3D5-7675E749D69A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765B3316-AC7E-A2FD-4A87-49159049614B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D99BDDEB-4512-0143-8C1F-AF125C870B8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0340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89" userDrawn="1">
          <p15:clr>
            <a:srgbClr val="FBAE40"/>
          </p15:clr>
        </p15:guide>
        <p15:guide id="4" pos="7061" userDrawn="1">
          <p15:clr>
            <a:srgbClr val="FBAE40"/>
          </p15:clr>
        </p15:guide>
        <p15:guide id="5" orient="horz" pos="155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Menú</a:t>
            </a:r>
            <a:endParaRPr lang="es-CL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4338492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216" userDrawn="1">
          <p15:clr>
            <a:srgbClr val="FBAE40"/>
          </p15:clr>
        </p15:guide>
        <p15:guide id="2" orient="horz" pos="2344" userDrawn="1">
          <p15:clr>
            <a:srgbClr val="FBAE40"/>
          </p15:clr>
        </p15:guide>
        <p15:guide id="3" orient="horz" pos="3373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  <p15:guide id="5" orient="horz" pos="2273" userDrawn="1">
          <p15:clr>
            <a:srgbClr val="FBAE40"/>
          </p15:clr>
        </p15:guide>
        <p15:guide id="6" orient="horz" pos="1146" userDrawn="1">
          <p15:clr>
            <a:srgbClr val="FBAE40"/>
          </p15:clr>
        </p15:guide>
        <p15:guide id="7" pos="377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924" y="2796470"/>
            <a:ext cx="132757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02709" y="2796470"/>
            <a:ext cx="132005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850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471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19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2F7BFBC3-CA9A-8B47-8E3D-1AFAE6C5F8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id="{37CA7630-BB44-4B4F-A531-A54553FD823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AD33653B-2F54-8A64-0A5D-244A87AAF0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CDCD40B7-6D0B-78D3-520D-597D07F2A72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2C3850F8-C051-1EF1-3196-55F33C10A09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391642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DD95BDA-861F-7810-DF0E-BA6FB5B40DD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367924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0140285F-AA43-6336-C29B-FB4CE180591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9326277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B8DC576C-15E6-FE41-990D-4FF687B547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05141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6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554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5CBAC14D-C4ED-C1DE-687D-CCFA2D8B0D8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5EC1BBDE-9E66-E64E-A184-B8DBC3F961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83571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246F6B8A-ADEC-F9A1-CA3A-0045A1F815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151D5F1C-F0CF-5827-76CB-C906753A49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B55854E0-EC58-48C9-AEB3-C034027A59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46F8515C-C4C5-0707-5CB5-B2ECFFCEEE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CD386A07-FD78-8D45-9FB2-5A2EBD6336B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471584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82EC4D03-979B-F1AD-BB83-3B7EB2FF94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872E818A-143F-BF19-7783-5C9264AD62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BEA956F1-1F73-2B17-0B10-06F1E5DBB41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Marcador de texto 4">
            <a:extLst>
              <a:ext uri="{FF2B5EF4-FFF2-40B4-BE49-F238E27FC236}">
                <a16:creationId xmlns:a16="http://schemas.microsoft.com/office/drawing/2014/main" id="{52783BEF-14C5-56DE-742B-43A7A68B76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DFB357FC-7EBD-EB66-A093-085304D3A3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E079C94-C91E-EE4C-9698-4D039A3E0E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4670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1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C03588EA-230F-9F48-26D4-2AB8AFE97D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3FF76E71-3FB3-0869-F050-64E99B5B0AC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48136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B9E21CD9-275B-8CFC-6E42-93BDE7CC4A4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1A1C1CD-8F65-3A22-D009-D17B4CED89A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9">
            <a:extLst>
              <a:ext uri="{FF2B5EF4-FFF2-40B4-BE49-F238E27FC236}">
                <a16:creationId xmlns:a16="http://schemas.microsoft.com/office/drawing/2014/main" id="{8597D40C-6AA4-DE48-8FA8-8E5105CFB5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69450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 userDrawn="1">
          <p15:clr>
            <a:srgbClr val="FBAE40"/>
          </p15:clr>
        </p15:guide>
        <p15:guide id="2" orient="horz" pos="4226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6D5FCCB-CEE8-8546-3842-6497153356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D96FBA1A-B927-BCCE-9434-CC56062C0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CCB24AB1-8E8C-6980-5BD9-B08FACFC03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736166"/>
            <a:ext cx="1823274" cy="136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94771" y="1723432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931311" y="1736165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774E1248-A19B-26E0-EA97-FC38FE93E0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274090"/>
            <a:ext cx="185956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00A1877B-9B6D-001B-3C65-5A8E93CC36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908544"/>
            <a:ext cx="1859561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A95262CA-4965-4B33-D9F2-3909FE7D85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274090"/>
            <a:ext cx="183474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8" name="Marcador de texto 7">
            <a:extLst>
              <a:ext uri="{FF2B5EF4-FFF2-40B4-BE49-F238E27FC236}">
                <a16:creationId xmlns:a16="http://schemas.microsoft.com/office/drawing/2014/main" id="{AC26C04D-B937-D86D-390F-F16186A16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98423"/>
            <a:ext cx="1834741" cy="1849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9" name="Marcador de texto 7">
            <a:extLst>
              <a:ext uri="{FF2B5EF4-FFF2-40B4-BE49-F238E27FC236}">
                <a16:creationId xmlns:a16="http://schemas.microsoft.com/office/drawing/2014/main" id="{C6D99C93-698E-3BDB-8773-9A36439AB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274090"/>
            <a:ext cx="1816955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7C0AC188-A451-8772-5B59-7E3B1E835E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908544"/>
            <a:ext cx="1816955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60" name="Marcador de texto 4">
            <a:extLst>
              <a:ext uri="{FF2B5EF4-FFF2-40B4-BE49-F238E27FC236}">
                <a16:creationId xmlns:a16="http://schemas.microsoft.com/office/drawing/2014/main" id="{5221DF9A-FB73-6073-85BD-064962813B7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62" name="Marcador de número de diapositiva 1">
            <a:extLst>
              <a:ext uri="{FF2B5EF4-FFF2-40B4-BE49-F238E27FC236}">
                <a16:creationId xmlns:a16="http://schemas.microsoft.com/office/drawing/2014/main" id="{001BA4EB-0D60-8A71-D259-DA60A668F28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496A6CF1-D23F-1039-F86B-830CB70B2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64" name="Marcador de texto 7">
            <a:extLst>
              <a:ext uri="{FF2B5EF4-FFF2-40B4-BE49-F238E27FC236}">
                <a16:creationId xmlns:a16="http://schemas.microsoft.com/office/drawing/2014/main" id="{EC47FD3F-4E56-5A3D-F2FF-B06D6BC725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0E9EFC4E-37C9-D23F-3FB5-4B8E7702954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0DFFBD6C-3C08-6E43-B9F5-5E05FD52AA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44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1185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D78F12CD-CCBE-600D-4EDC-45AFB213C4EE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35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4916A15D-85C0-D990-750F-46719AB0AA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250402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3D500E11-6B82-9829-F80C-CF7B10FDFFC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C164548E-2F65-D8AC-31F2-081ACB41C4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25040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5226E6AD-62A9-4B33-B326-D20D75B379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25040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0BD11890-6BED-0C22-0006-86C73A0EFB2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505AAF8-DBC1-86F4-068C-833CF0721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CEBB59B5-68B9-667F-AC17-76E38BCA85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443C8FB3-0736-3E6C-6EF2-7652174A3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1305" y="1715225"/>
            <a:ext cx="5727986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3A3F9F0D-B7EE-E8E0-7967-584C37AC1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357" y="1708056"/>
            <a:ext cx="151694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AF44F2-F50C-B20C-43BB-056F974B62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71305" y="3240179"/>
            <a:ext cx="5727986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1007EA0A-1BCB-4801-6B85-BA42585CC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357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0418B0B8-C98A-DC11-DE96-9F376F0C93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1305" y="4722386"/>
            <a:ext cx="5727986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C16C7670-A916-B1FD-AAE9-E26102044D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4357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2" name="Picture 9">
            <a:extLst>
              <a:ext uri="{FF2B5EF4-FFF2-40B4-BE49-F238E27FC236}">
                <a16:creationId xmlns:a16="http://schemas.microsoft.com/office/drawing/2014/main" id="{01E58C8B-B6EE-DC46-9956-AC75DE22C9B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89337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480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3589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EB19DFDF-4EBC-49FB-3A6E-319D14B3070A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63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1715225"/>
            <a:ext cx="4033335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110" y="1708056"/>
            <a:ext cx="148608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1708055"/>
            <a:ext cx="1719866" cy="1271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240179"/>
            <a:ext cx="4033335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19110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19110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AFC37D72-A3D0-6E30-A74D-7EFAC3C3E74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689269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AC3CB731-A91D-CC70-0F6C-C9B6DD7E77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68926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5F3D34A6-E919-A400-A10E-1465829B358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7689269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</a:t>
            </a:r>
            <a:r>
              <a:rPr lang="es-ES" err="1"/>
              <a:t>Achs</a:t>
            </a:r>
            <a:r>
              <a:rPr lang="es-ES"/>
              <a:t> Nueva Sans 9</a:t>
            </a:r>
          </a:p>
          <a:p>
            <a:pPr lvl="0"/>
            <a:r>
              <a:rPr lang="es-CL"/>
              <a:t>Texto secundario fuente </a:t>
            </a:r>
            <a:r>
              <a:rPr lang="es-ES" err="1"/>
              <a:t>Achs</a:t>
            </a:r>
            <a:r>
              <a:rPr lang="es-ES"/>
              <a:t> Nueva Sans</a:t>
            </a:r>
            <a:r>
              <a:rPr lang="es-CL"/>
              <a:t>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E3297B15-067E-88AF-4604-CC120AC892E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2F82686A-3A75-0782-8E63-D9864E4E0A7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F13131BE-610C-AAD3-A365-8EFCEF748A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7E613AF8-8B35-80E7-8D5A-2B2EAC3F57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posición de imagen 2">
            <a:extLst>
              <a:ext uri="{FF2B5EF4-FFF2-40B4-BE49-F238E27FC236}">
                <a16:creationId xmlns:a16="http://schemas.microsoft.com/office/drawing/2014/main" id="{ACDBD7E0-DC6A-FA03-5AF4-29BCFC4EB0B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56901" y="3236589"/>
            <a:ext cx="1711851" cy="12454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id="{6F5D458B-4DE9-03F0-F77D-9B363B903DE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3581" y="4722387"/>
            <a:ext cx="1719866" cy="131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30507858-6B48-9E41-AD16-D020E85676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0872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5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226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5FC4E1-33E0-CC3D-0C60-972417AC6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64231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460CC22F-CFA0-9148-8FD8-AF8F65118A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764231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1540C177-D42A-CB0E-FA33-D6DC18F1E3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8" y="6467632"/>
            <a:ext cx="7642690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4D78B011-CE17-B0ED-3D82-B18CD64580C5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8DBD71AE-8A3D-D196-C8B1-FE7DDF8C487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4" name="Picture 9">
            <a:extLst>
              <a:ext uri="{FF2B5EF4-FFF2-40B4-BE49-F238E27FC236}">
                <a16:creationId xmlns:a16="http://schemas.microsoft.com/office/drawing/2014/main" id="{75C99C3D-5ECB-4B47-A454-878F8E7CDE2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54239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546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pos="150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CD5571-1A37-8742-633B-FDE4289A56D3}"/>
              </a:ext>
            </a:extLst>
          </p:cNvPr>
          <p:cNvSpPr/>
          <p:nvPr userDrawn="1"/>
        </p:nvSpPr>
        <p:spPr>
          <a:xfrm>
            <a:off x="2229912" y="2074602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0283" y="2074603"/>
            <a:ext cx="4450633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4878" y="1635136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4223" y="1635136"/>
            <a:ext cx="2821844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54878" y="2226863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226863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283" y="3688250"/>
            <a:ext cx="445063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54878" y="3248783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54223" y="3248783"/>
            <a:ext cx="2821845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831728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80281" y="5452834"/>
            <a:ext cx="4450635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54878" y="5013367"/>
            <a:ext cx="1722600" cy="2709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80281" y="5013367"/>
            <a:ext cx="2821843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585536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" name="Marcador de número de diapositiva 1">
            <a:extLst>
              <a:ext uri="{FF2B5EF4-FFF2-40B4-BE49-F238E27FC236}">
                <a16:creationId xmlns:a16="http://schemas.microsoft.com/office/drawing/2014/main" id="{8114EADB-A1A6-5D54-56EB-AB33D8130ED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90BE40-E8AE-DD4F-9CDF-DF776AC898E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681656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635AF030-1BFB-1DC6-320D-92F3ECE187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68165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8FCC25A4-9E37-FA79-3D5F-A3D449EF169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8888" y="6467632"/>
            <a:ext cx="868165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11A1840-D890-4448-4701-DD0761E643F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FB200DAD-01BA-E815-15BF-F2E2808FFD78}"/>
              </a:ext>
            </a:extLst>
          </p:cNvPr>
          <p:cNvSpPr/>
          <p:nvPr userDrawn="1"/>
        </p:nvSpPr>
        <p:spPr>
          <a:xfrm>
            <a:off x="2229912" y="3679467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D51ED2C1-130A-17CB-8A26-485E1ED1FD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354878" y="3831728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C23D7D8-A36A-FCFA-C363-1E3AACD9EC82}"/>
              </a:ext>
            </a:extLst>
          </p:cNvPr>
          <p:cNvSpPr/>
          <p:nvPr userDrawn="1"/>
        </p:nvSpPr>
        <p:spPr>
          <a:xfrm>
            <a:off x="2229912" y="5452284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0B15884B-AD96-F417-E810-6FC0456CBD1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354878" y="5604545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32" name="Picture 9">
            <a:extLst>
              <a:ext uri="{FF2B5EF4-FFF2-40B4-BE49-F238E27FC236}">
                <a16:creationId xmlns:a16="http://schemas.microsoft.com/office/drawing/2014/main" id="{8772F3A8-1D99-6641-B3F7-B75A3ECB0D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46822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0B213D-8867-D142-8D90-9F4B25F1F40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8992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FCADB6DF-75B4-08A8-CFD3-088844059BC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62515" y="1915097"/>
            <a:ext cx="0" cy="42662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76AF13A1-963E-1349-B0F8-BC3764CA0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0377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5635CE05-A8B6-0F9D-8524-AC66A4CB21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88D966E8-7EA5-758A-7F8B-5D4DD100B2A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16672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380A6EC-B8CC-900A-BA04-159F8F127C1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16672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2D4286EE-15ED-C598-A2B5-8344B126A78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5" name="Picture 9">
            <a:extLst>
              <a:ext uri="{FF2B5EF4-FFF2-40B4-BE49-F238E27FC236}">
                <a16:creationId xmlns:a16="http://schemas.microsoft.com/office/drawing/2014/main" id="{82A4F448-A111-C04A-BD52-267DA58C44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76261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1206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Insertar gráfico o carta </a:t>
            </a:r>
            <a:r>
              <a:rPr lang="es-ES" err="1"/>
              <a:t>gantt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77D00938-9212-2EB2-FA3E-A411D669549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95971976-0E83-FEA9-D8E3-EF53C32CED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4ECEDE42-346E-73AF-914F-DDAF094C05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7602F1B-E0CD-1B18-2D9E-01D2A99AEF9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7A130A72-D212-A248-89EA-57FD7F4D95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943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2"/>
            <a:ext cx="5162397" cy="2403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0"/>
            <a:ext cx="4378769" cy="3676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3959900" cy="3903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id="{2A60C413-F74F-A342-BF7D-FEA64A016E3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821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203F6A84-F147-7F57-D340-54C63B0BD06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9D38886-94D1-A6ED-4569-789456D09F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E178C68-7235-DC4D-A33B-C70CDC8EEF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9379B90-7EEC-2E3F-1CF0-DB9DD7789CB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9">
            <a:extLst>
              <a:ext uri="{FF2B5EF4-FFF2-40B4-BE49-F238E27FC236}">
                <a16:creationId xmlns:a16="http://schemas.microsoft.com/office/drawing/2014/main" id="{7AAA2658-B479-A44D-BC0D-8B81C32F26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0096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3" pos="5632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pos="2048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F91C7D0D-913E-2BD6-A029-C1F997C4310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EC21E73-5744-D27B-8CBE-8A518E2D3F7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6E500EB6-4F25-F564-5C80-21656E61914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id="{D2BC01B7-7F51-FE41-8A90-8B20D4F886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6652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8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4C91283-45D0-3E03-A9FF-55BCD9B704C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47A559D5-DF30-4ACD-5D59-ED98AE3999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90704A90-4770-B1C4-DCF5-87CDF83645F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id="{9A5072A0-4002-E44F-8370-B6A8779A5F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02267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7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  <p15:guide id="7" orient="horz" pos="667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845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FFFAE49-5C7E-779C-FE0C-21EA6D7F834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A277397-57FC-D54F-7087-3C738FBAC4C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número de diapositiva 1">
            <a:extLst>
              <a:ext uri="{FF2B5EF4-FFF2-40B4-BE49-F238E27FC236}">
                <a16:creationId xmlns:a16="http://schemas.microsoft.com/office/drawing/2014/main" id="{1989735B-7A49-B1CB-8DF1-075E71B8E0E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A569BEF4-D7E2-6D05-14BD-07EA960ADB8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id="{A10D525C-D188-C74B-8970-72D92A292A7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48170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78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41462967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9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82468557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5D52F1-0FA1-FAB3-B385-08FEE5868F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6" r="15604"/>
          <a:stretch/>
        </p:blipFill>
        <p:spPr>
          <a:xfrm>
            <a:off x="0" y="0"/>
            <a:ext cx="635000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5F600FA4-D0A2-8949-8FD6-E129C30DA8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94886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99993" y="1956390"/>
            <a:ext cx="2028380" cy="1429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65021" y="3596958"/>
            <a:ext cx="3661513" cy="25803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534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5346" y="3596958"/>
            <a:ext cx="3103602" cy="2187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76681" y="1446028"/>
            <a:ext cx="2752592" cy="1939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069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9" name="Picture 9">
            <a:extLst>
              <a:ext uri="{FF2B5EF4-FFF2-40B4-BE49-F238E27FC236}">
                <a16:creationId xmlns:a16="http://schemas.microsoft.com/office/drawing/2014/main" id="{277926F9-7738-E54C-AFDC-1307B1227F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29150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CF1D8DA-AE91-B336-5F4F-622ABF73F891}"/>
              </a:ext>
            </a:extLst>
          </p:cNvPr>
          <p:cNvGrpSpPr/>
          <p:nvPr userDrawn="1"/>
        </p:nvGrpSpPr>
        <p:grpSpPr>
          <a:xfrm>
            <a:off x="3858" y="6170736"/>
            <a:ext cx="12188142" cy="769918"/>
            <a:chOff x="3858" y="6152399"/>
            <a:chExt cx="12478428" cy="78825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93BFBBF-EA61-7CDE-8490-495FA9B23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10800000">
              <a:off x="3858" y="6155622"/>
              <a:ext cx="9722734" cy="7023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4C8EA7-94E9-33E0-B16D-5DEC620A0A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300" t="-11714"/>
            <a:stretch/>
          </p:blipFill>
          <p:spPr>
            <a:xfrm rot="10800000">
              <a:off x="9713918" y="6152399"/>
              <a:ext cx="2768368" cy="788255"/>
            </a:xfrm>
            <a:prstGeom prst="rect">
              <a:avLst/>
            </a:prstGeom>
          </p:spPr>
        </p:pic>
      </p:grp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4" y="6463751"/>
            <a:ext cx="8347074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0192107" y="6463750"/>
            <a:ext cx="1542766" cy="276989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id="{543DA8BA-4F7D-714C-AC44-D7DAA46C1F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31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ACCBF752-43F9-3D42-A021-FF715DC7715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97356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7336333D-C26B-EB07-8FBD-B3FD72C3649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0675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232B572-5761-5C00-420A-B9EDA9F646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3262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5E27719-0FF0-A561-FD72-4E80D63799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rgbClr val="1E11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3065643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C4780D07-F93A-DD47-B2C4-CBAED270497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880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1292E102-2234-9AE9-43F9-1A80E7A5AA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1233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EA46E090-29E9-6D24-97F3-40AB9216DD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969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E5DFB5B-6456-EFCA-2081-B512D51BE5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4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0A35E31-20A2-1E54-42EB-771CE83B16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1233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95935E3-04B2-E6B4-BD22-022586D55B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DA74DE6B-B246-971B-3BA6-AEDE507248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6" name="Conector recto 18">
            <a:extLst>
              <a:ext uri="{FF2B5EF4-FFF2-40B4-BE49-F238E27FC236}">
                <a16:creationId xmlns:a16="http://schemas.microsoft.com/office/drawing/2014/main" id="{79A3939C-E2E4-90BA-D536-FE400D5D888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id="{0AAD014A-0DF0-AC4A-9E64-8615A5ADB1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0281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erre_ca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Muchas</a:t>
            </a:r>
          </a:p>
          <a:p>
            <a:pPr lvl="0"/>
            <a:r>
              <a:rPr lang="es-ES"/>
              <a:t>gracias!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www.achs.cl</a:t>
            </a:r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2D6A441B-9F39-2F47-A862-787FE18E64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66002" y="5428821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855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319BDAAD-D971-44E3-2963-12E25D8439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816" y="2904896"/>
            <a:ext cx="2242367" cy="1048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70554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88D149-E665-2692-538D-A495EBE4A2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C970606F-8436-C446-883F-1F20759B73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0937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117938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>
            <a:extLst>
              <a:ext uri="{FF2B5EF4-FFF2-40B4-BE49-F238E27FC236}">
                <a16:creationId xmlns:a16="http://schemas.microsoft.com/office/drawing/2014/main" id="{D96D9364-189A-1BED-D214-A365BA8744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17317" y="2986917"/>
            <a:ext cx="2157366" cy="88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6791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4F7FCC-439D-B94C-A689-2CC350BDEB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1579" y="1983138"/>
            <a:ext cx="10017551" cy="2387600"/>
          </a:xfrm>
        </p:spPr>
        <p:txBody>
          <a:bodyPr anchor="b">
            <a:normAutofit/>
          </a:bodyPr>
          <a:lstStyle>
            <a:lvl1pPr algn="l">
              <a:defRPr lang="es-CL" sz="3600" b="1" kern="1200" spc="-15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10EA85-8C5A-7842-B0BA-B08D20BBD1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1578" y="6018714"/>
            <a:ext cx="10017551" cy="438647"/>
          </a:xfrm>
        </p:spPr>
        <p:txBody>
          <a:bodyPr>
            <a:normAutofit/>
          </a:bodyPr>
          <a:lstStyle>
            <a:lvl1pPr marL="0" indent="0" algn="l">
              <a:buNone/>
              <a:defRPr lang="es-CL" sz="1400" kern="1200" dirty="0">
                <a:solidFill>
                  <a:schemeClr val="accent5">
                    <a:lumMod val="60000"/>
                    <a:lumOff val="4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Nombre expositor | Cargo expositor | Mes 2020</a:t>
            </a:r>
            <a:endParaRPr lang="es-CL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D44B7779-E965-CA4D-9EA5-DA5B5C7334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06138" y="441325"/>
            <a:ext cx="635000" cy="6350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8570EFBA-24C9-D642-9F28-8868099872F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1578" y="1983138"/>
            <a:ext cx="6284762" cy="99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6392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87C1AE-A5E7-0649-8C35-50561BEA6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41325"/>
            <a:ext cx="8800070" cy="1325563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004A5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67B9D02-F56D-6A42-99A7-C72B6E7C20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2005012"/>
            <a:ext cx="11017250" cy="4351338"/>
          </a:xfrm>
        </p:spPr>
        <p:txBody>
          <a:bodyPr/>
          <a:lstStyle>
            <a:lvl1pPr marL="2286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8A004A"/>
              </a:buClr>
              <a:buFont typeface="Wingdings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74224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10" userDrawn="1">
          <p15:clr>
            <a:srgbClr val="FBAE40"/>
          </p15:clr>
        </p15:guide>
        <p15:guide id="2" orient="horz" pos="4065" userDrawn="1">
          <p15:clr>
            <a:srgbClr val="FBAE40"/>
          </p15:clr>
        </p15:guide>
        <p15:guide id="3" pos="347" userDrawn="1">
          <p15:clr>
            <a:srgbClr val="FBAE40"/>
          </p15:clr>
        </p15:guide>
        <p15:guide id="4" orient="horz" pos="278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B284AD3-DA1F-C94F-A358-BE3BC8C70D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63" y="2351669"/>
            <a:ext cx="4418467" cy="1805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9588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Menú</a:t>
            </a:r>
            <a:endParaRPr lang="es-CL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613186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77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0B213D-8867-D142-8D90-9F4B25F1F40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842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5D52F1-0FA1-FAB3-B385-08FEE5868F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6" r="15604"/>
          <a:stretch/>
        </p:blipFill>
        <p:spPr>
          <a:xfrm>
            <a:off x="0" y="0"/>
            <a:ext cx="635000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5F600FA4-D0A2-8949-8FD6-E129C30DA8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617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88D149-E665-2692-538D-A495EBE4A2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C970606F-8436-C446-883F-1F20759B73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543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5750290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4117271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9E6D8A-C320-7B8A-750B-8E53CB8AFB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7" r="10387"/>
          <a:stretch/>
        </p:blipFill>
        <p:spPr>
          <a:xfrm>
            <a:off x="3549642" y="0"/>
            <a:ext cx="7691382" cy="6857999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0130BCDC-C265-2243-A7EC-930203A0172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24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2230476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597457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DC1B6E-E33C-3FF9-24FE-2E352ACB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4083484" y="1"/>
            <a:ext cx="8108516" cy="6858000"/>
          </a:xfrm>
          <a:prstGeom prst="rect">
            <a:avLst/>
          </a:prstGeom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924D1FB4-1178-2F4A-A5DD-5B08C9C270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627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5750290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4117271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9E6D8A-C320-7B8A-750B-8E53CB8AFB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7" r="10387"/>
          <a:stretch/>
        </p:blipFill>
        <p:spPr>
          <a:xfrm>
            <a:off x="3549642" y="0"/>
            <a:ext cx="7691382" cy="6857999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0130BCDC-C265-2243-A7EC-930203A0172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4510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20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</a:t>
            </a:r>
          </a:p>
          <a:p>
            <a:pPr lvl="0"/>
            <a:r>
              <a:rPr lang="es-ES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C799E6A4-4C39-4044-9E70-2C36E11685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933909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105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6595D45-3E0C-751A-B022-9C87CFFF2F1B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6371A669-6E98-684F-AA09-CAF189C7B79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05185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orient="horz" pos="77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801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048226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61616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Asociación Chilena de Seguridad…">
            <a:extLst>
              <a:ext uri="{FF2B5EF4-FFF2-40B4-BE49-F238E27FC236}">
                <a16:creationId xmlns:a16="http://schemas.microsoft.com/office/drawing/2014/main" id="{0566E8CB-CFA5-0993-8848-2224E724D0A1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F406DD75-EFED-8148-B3B9-76FA0FDA661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617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1E32865B-70DB-344E-9066-483DD14F91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4037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E3E6E6E-A03E-9049-B7ED-474D11A172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19369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13143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importante Arial Regular - 88 puntos máximo 5 líneas</a:t>
            </a:r>
            <a:endParaRPr lang="es-CL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D15BCFF8-69B7-E644-B5A1-9402DA47BA7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778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“Frase entre comillas” Arial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6201F724-207C-5742-B341-05366E40EF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392335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65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588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40 puntos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9">
            <a:extLst>
              <a:ext uri="{FF2B5EF4-FFF2-40B4-BE49-F238E27FC236}">
                <a16:creationId xmlns:a16="http://schemas.microsoft.com/office/drawing/2014/main" id="{1D273B15-8ED6-474F-97CC-C2D75BC6FC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60838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1997">
          <p15:clr>
            <a:srgbClr val="FBAE40"/>
          </p15:clr>
        </p15:guide>
        <p15:guide id="6" orient="horz" pos="3550">
          <p15:clr>
            <a:srgbClr val="FBAE40"/>
          </p15:clr>
        </p15:guide>
        <p15:guide id="7" orient="horz" pos="1207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1139">
          <p15:clr>
            <a:srgbClr val="FBAE40"/>
          </p15:clr>
        </p15:guide>
        <p15:guide id="10" orient="horz" pos="1915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B124D06C-2C82-9E6F-DA7A-EB00C9ECB3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73610" y="0"/>
            <a:ext cx="381838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378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08545" y="1118020"/>
            <a:ext cx="467318" cy="48666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112769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CB8010E-D6E1-90A8-7F57-14AE0A01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770" y="1118020"/>
            <a:ext cx="3312926" cy="17340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 Bold 40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BBA7E125-E594-77B9-1A2D-0D4C28B928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463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DDC9B715-6BC7-85FD-D5A1-9A32DDA0D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D8469DA-03C3-6758-7F02-47BF4B454AB4}"/>
              </a:ext>
            </a:extLst>
          </p:cNvPr>
          <p:cNvSpPr/>
          <p:nvPr userDrawn="1"/>
        </p:nvSpPr>
        <p:spPr>
          <a:xfrm>
            <a:off x="8373609" y="6110306"/>
            <a:ext cx="3818391" cy="747694"/>
          </a:xfrm>
          <a:custGeom>
            <a:avLst/>
            <a:gdLst>
              <a:gd name="connsiteX0" fmla="*/ 690432 w 3818391"/>
              <a:gd name="connsiteY0" fmla="*/ 0 h 747694"/>
              <a:gd name="connsiteX1" fmla="*/ 3818391 w 3818391"/>
              <a:gd name="connsiteY1" fmla="*/ 0 h 747694"/>
              <a:gd name="connsiteX2" fmla="*/ 3818391 w 3818391"/>
              <a:gd name="connsiteY2" fmla="*/ 747694 h 747694"/>
              <a:gd name="connsiteX3" fmla="*/ 5773 w 3818391"/>
              <a:gd name="connsiteY3" fmla="*/ 747694 h 747694"/>
              <a:gd name="connsiteX4" fmla="*/ 0 w 3818391"/>
              <a:gd name="connsiteY4" fmla="*/ 690432 h 747694"/>
              <a:gd name="connsiteX5" fmla="*/ 14027 w 3818391"/>
              <a:gd name="connsiteY5" fmla="*/ 551286 h 747694"/>
              <a:gd name="connsiteX6" fmla="*/ 690432 w 3818391"/>
              <a:gd name="connsiteY6" fmla="*/ 0 h 7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8391" h="747694">
                <a:moveTo>
                  <a:pt x="690432" y="0"/>
                </a:moveTo>
                <a:lnTo>
                  <a:pt x="3818391" y="0"/>
                </a:lnTo>
                <a:lnTo>
                  <a:pt x="3818391" y="747694"/>
                </a:lnTo>
                <a:lnTo>
                  <a:pt x="5773" y="747694"/>
                </a:lnTo>
                <a:lnTo>
                  <a:pt x="0" y="690432"/>
                </a:lnTo>
                <a:lnTo>
                  <a:pt x="14027" y="551286"/>
                </a:lnTo>
                <a:cubicBezTo>
                  <a:pt x="78407" y="236668"/>
                  <a:pt x="356781" y="0"/>
                  <a:pt x="690432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39568CE8-F416-6B48-938E-EBD604E68B3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57585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9" orient="horz" pos="4320">
          <p15:clr>
            <a:srgbClr val="FBAE40"/>
          </p15:clr>
        </p15:guide>
        <p15:guide id="10" orient="horz" pos="1207">
          <p15:clr>
            <a:srgbClr val="FBAE40"/>
          </p15:clr>
        </p15:guide>
        <p15:guide id="11" orient="horz" pos="1830">
          <p15:clr>
            <a:srgbClr val="FBAE40"/>
          </p15:clr>
        </p15:guide>
        <p15:guide id="12" orient="horz" pos="2436">
          <p15:clr>
            <a:srgbClr val="FBAE40"/>
          </p15:clr>
        </p15:guide>
        <p15:guide id="13" orient="horz" pos="3042">
          <p15:clr>
            <a:srgbClr val="FBAE40"/>
          </p15:clr>
        </p15:guide>
        <p15:guide id="14" orient="horz" pos="364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portada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2230476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597457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DC1B6E-E33C-3FF9-24FE-2E352ACB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4083484" y="1"/>
            <a:ext cx="8108516" cy="6858000"/>
          </a:xfrm>
          <a:prstGeom prst="rect">
            <a:avLst/>
          </a:prstGeom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924D1FB4-1178-2F4A-A5DD-5B08C9C270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97875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F3F4752F-E3DE-0A43-B945-CD93B39799E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70345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>
                <a:solidFill>
                  <a:schemeClr val="bg2"/>
                </a:solidFill>
              </a:rPr>
              <a:t>Texto Arial</a:t>
            </a:r>
            <a:br>
              <a:rPr lang="es-ES">
                <a:solidFill>
                  <a:schemeClr val="bg2"/>
                </a:solidFill>
              </a:rPr>
            </a:br>
            <a:r>
              <a:rPr lang="es-ES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EFF2E13-34D5-D1C8-EC0D-A20965AFD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530922" cy="720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Bold 20</a:t>
            </a:r>
            <a:endParaRPr lang="es-CL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id="{25206FC1-F6D3-11A5-B3D5-7675E749D69A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765B3316-AC7E-A2FD-4A87-49159049614B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D99BDDEB-4512-0143-8C1F-AF125C870B8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48644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924" y="2796470"/>
            <a:ext cx="132757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02709" y="2796470"/>
            <a:ext cx="132005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850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471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19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2F7BFBC3-CA9A-8B47-8E3D-1AFAE6C5F8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id="{37CA7630-BB44-4B4F-A531-A54553FD823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AD33653B-2F54-8A64-0A5D-244A87AAF0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CDCD40B7-6D0B-78D3-520D-597D07F2A72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2C3850F8-C051-1EF1-3196-55F33C10A09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391642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DD95BDA-861F-7810-DF0E-BA6FB5B40DD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367924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0140285F-AA43-6336-C29B-FB4CE180591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9326277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B8DC576C-15E6-FE41-990D-4FF687B547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6396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0">
          <p15:clr>
            <a:srgbClr val="FBAE40"/>
          </p15:clr>
        </p15:guide>
        <p15:guide id="3" pos="554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5CBAC14D-C4ED-C1DE-687D-CCFA2D8B0D8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5EC1BBDE-9E66-E64E-A184-B8DBC3F961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27265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246F6B8A-ADEC-F9A1-CA3A-0045A1F815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151D5F1C-F0CF-5827-76CB-C906753A49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B55854E0-EC58-48C9-AEB3-C034027A59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46F8515C-C4C5-0707-5CB5-B2ECFFCEEE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CD386A07-FD78-8D45-9FB2-5A2EBD6336B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621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82EC4D03-979B-F1AD-BB83-3B7EB2FF94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872E818A-143F-BF19-7783-5C9264AD62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BEA956F1-1F73-2B17-0B10-06F1E5DBB41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Marcador de texto 4">
            <a:extLst>
              <a:ext uri="{FF2B5EF4-FFF2-40B4-BE49-F238E27FC236}">
                <a16:creationId xmlns:a16="http://schemas.microsoft.com/office/drawing/2014/main" id="{52783BEF-14C5-56DE-742B-43A7A68B76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DFB357FC-7EBD-EB66-A093-085304D3A3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E079C94-C91E-EE4C-9698-4D039A3E0E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5502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1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C03588EA-230F-9F48-26D4-2AB8AFE97D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3FF76E71-3FB3-0869-F050-64E99B5B0AC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48136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B9E21CD9-275B-8CFC-6E42-93BDE7CC4A4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1A1C1CD-8F65-3A22-D009-D17B4CED89A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9">
            <a:extLst>
              <a:ext uri="{FF2B5EF4-FFF2-40B4-BE49-F238E27FC236}">
                <a16:creationId xmlns:a16="http://schemas.microsoft.com/office/drawing/2014/main" id="{8597D40C-6AA4-DE48-8FA8-8E5105CFB5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1312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6D5FCCB-CEE8-8546-3842-6497153356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D96FBA1A-B927-BCCE-9434-CC56062C0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CCB24AB1-8E8C-6980-5BD9-B08FACFC03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736166"/>
            <a:ext cx="1823274" cy="136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94771" y="1723432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931311" y="1736165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774E1248-A19B-26E0-EA97-FC38FE93E0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274090"/>
            <a:ext cx="185956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00A1877B-9B6D-001B-3C65-5A8E93CC36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908544"/>
            <a:ext cx="1859561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A95262CA-4965-4B33-D9F2-3909FE7D85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274090"/>
            <a:ext cx="183474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8" name="Marcador de texto 7">
            <a:extLst>
              <a:ext uri="{FF2B5EF4-FFF2-40B4-BE49-F238E27FC236}">
                <a16:creationId xmlns:a16="http://schemas.microsoft.com/office/drawing/2014/main" id="{AC26C04D-B937-D86D-390F-F16186A16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98423"/>
            <a:ext cx="1834741" cy="1849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9" name="Marcador de texto 7">
            <a:extLst>
              <a:ext uri="{FF2B5EF4-FFF2-40B4-BE49-F238E27FC236}">
                <a16:creationId xmlns:a16="http://schemas.microsoft.com/office/drawing/2014/main" id="{C6D99C93-698E-3BDB-8773-9A36439AB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274090"/>
            <a:ext cx="1816955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7C0AC188-A451-8772-5B59-7E3B1E835E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908544"/>
            <a:ext cx="1816955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60" name="Marcador de texto 4">
            <a:extLst>
              <a:ext uri="{FF2B5EF4-FFF2-40B4-BE49-F238E27FC236}">
                <a16:creationId xmlns:a16="http://schemas.microsoft.com/office/drawing/2014/main" id="{5221DF9A-FB73-6073-85BD-064962813B7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62" name="Marcador de número de diapositiva 1">
            <a:extLst>
              <a:ext uri="{FF2B5EF4-FFF2-40B4-BE49-F238E27FC236}">
                <a16:creationId xmlns:a16="http://schemas.microsoft.com/office/drawing/2014/main" id="{001BA4EB-0D60-8A71-D259-DA60A668F28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496A6CF1-D23F-1039-F86B-830CB70B2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64" name="Marcador de texto 7">
            <a:extLst>
              <a:ext uri="{FF2B5EF4-FFF2-40B4-BE49-F238E27FC236}">
                <a16:creationId xmlns:a16="http://schemas.microsoft.com/office/drawing/2014/main" id="{EC47FD3F-4E56-5A3D-F2FF-B06D6BC725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0E9EFC4E-37C9-D23F-3FB5-4B8E7702954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0DFFBD6C-3C08-6E43-B9F5-5E05FD52AA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86848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06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1185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D78F12CD-CCBE-600D-4EDC-45AFB213C4EE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35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4916A15D-85C0-D990-750F-46719AB0AA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250402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3D500E11-6B82-9829-F80C-CF7B10FDFFC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C164548E-2F65-D8AC-31F2-081ACB41C4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25040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5226E6AD-62A9-4B33-B326-D20D75B379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25040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0BD11890-6BED-0C22-0006-86C73A0EFB2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505AAF8-DBC1-86F4-068C-833CF0721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CEBB59B5-68B9-667F-AC17-76E38BCA85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443C8FB3-0736-3E6C-6EF2-7652174A3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1305" y="1715225"/>
            <a:ext cx="5727986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3A3F9F0D-B7EE-E8E0-7967-584C37AC1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357" y="1708056"/>
            <a:ext cx="151694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AF44F2-F50C-B20C-43BB-056F974B62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71305" y="3240179"/>
            <a:ext cx="5727986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1007EA0A-1BCB-4801-6B85-BA42585CC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357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0418B0B8-C98A-DC11-DE96-9F376F0C93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1305" y="4722386"/>
            <a:ext cx="5727986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C16C7670-A916-B1FD-AAE9-E26102044D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4357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2" name="Picture 9">
            <a:extLst>
              <a:ext uri="{FF2B5EF4-FFF2-40B4-BE49-F238E27FC236}">
                <a16:creationId xmlns:a16="http://schemas.microsoft.com/office/drawing/2014/main" id="{01E58C8B-B6EE-DC46-9956-AC75DE22C9B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08603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EB19DFDF-4EBC-49FB-3A6E-319D14B3070A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63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1715225"/>
            <a:ext cx="4033335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110" y="1708056"/>
            <a:ext cx="148608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1708055"/>
            <a:ext cx="1719866" cy="1271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240179"/>
            <a:ext cx="4033335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19110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19110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AFC37D72-A3D0-6E30-A74D-7EFAC3C3E74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689269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AC3CB731-A91D-CC70-0F6C-C9B6DD7E77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68926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5F3D34A6-E919-A400-A10E-1465829B358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7689269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</a:t>
            </a:r>
            <a:r>
              <a:rPr lang="es-ES" err="1"/>
              <a:t>Achs</a:t>
            </a:r>
            <a:r>
              <a:rPr lang="es-ES"/>
              <a:t> Nueva Sans 9</a:t>
            </a:r>
          </a:p>
          <a:p>
            <a:pPr lvl="0"/>
            <a:r>
              <a:rPr lang="es-CL"/>
              <a:t>Texto secundario fuente </a:t>
            </a:r>
            <a:r>
              <a:rPr lang="es-ES" err="1"/>
              <a:t>Achs</a:t>
            </a:r>
            <a:r>
              <a:rPr lang="es-ES"/>
              <a:t> Nueva Sans</a:t>
            </a:r>
            <a:r>
              <a:rPr lang="es-CL"/>
              <a:t>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E3297B15-067E-88AF-4604-CC120AC892E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2F82686A-3A75-0782-8E63-D9864E4E0A7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F13131BE-610C-AAD3-A365-8EFCEF748A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7E613AF8-8B35-80E7-8D5A-2B2EAC3F57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posición de imagen 2">
            <a:extLst>
              <a:ext uri="{FF2B5EF4-FFF2-40B4-BE49-F238E27FC236}">
                <a16:creationId xmlns:a16="http://schemas.microsoft.com/office/drawing/2014/main" id="{ACDBD7E0-DC6A-FA03-5AF4-29BCFC4EB0B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56901" y="3236589"/>
            <a:ext cx="1711851" cy="12454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id="{6F5D458B-4DE9-03F0-F77D-9B363B903DE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3581" y="4722387"/>
            <a:ext cx="1719866" cy="131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30507858-6B48-9E41-AD16-D020E85676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6213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5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20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</a:t>
            </a:r>
          </a:p>
          <a:p>
            <a:pPr lvl="0"/>
            <a:r>
              <a:rPr lang="es-ES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C799E6A4-4C39-4044-9E70-2C36E11685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328369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226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5FC4E1-33E0-CC3D-0C60-972417AC6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64231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460CC22F-CFA0-9148-8FD8-AF8F65118A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764231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1540C177-D42A-CB0E-FA33-D6DC18F1E3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8" y="6467632"/>
            <a:ext cx="7642690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4D78B011-CE17-B0ED-3D82-B18CD64580C5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8DBD71AE-8A3D-D196-C8B1-FE7DDF8C487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4" name="Picture 9">
            <a:extLst>
              <a:ext uri="{FF2B5EF4-FFF2-40B4-BE49-F238E27FC236}">
                <a16:creationId xmlns:a16="http://schemas.microsoft.com/office/drawing/2014/main" id="{75C99C3D-5ECB-4B47-A454-878F8E7CDE2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4237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546">
          <p15:clr>
            <a:srgbClr val="FBAE40"/>
          </p15:clr>
        </p15:guide>
        <p15:guide id="5" orient="horz" pos="3816">
          <p15:clr>
            <a:srgbClr val="FBAE40"/>
          </p15:clr>
        </p15:guide>
        <p15:guide id="6" pos="1504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CD5571-1A37-8742-633B-FDE4289A56D3}"/>
              </a:ext>
            </a:extLst>
          </p:cNvPr>
          <p:cNvSpPr/>
          <p:nvPr userDrawn="1"/>
        </p:nvSpPr>
        <p:spPr>
          <a:xfrm>
            <a:off x="2229912" y="2074602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0283" y="2074603"/>
            <a:ext cx="4450633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4878" y="1635136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4223" y="1635136"/>
            <a:ext cx="2821844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54878" y="2226863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226863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283" y="3688250"/>
            <a:ext cx="445063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54878" y="3248783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54223" y="3248783"/>
            <a:ext cx="2821845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831728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80281" y="5452834"/>
            <a:ext cx="4450635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54878" y="5013367"/>
            <a:ext cx="1722600" cy="2709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80281" y="5013367"/>
            <a:ext cx="2821843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585536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" name="Marcador de número de diapositiva 1">
            <a:extLst>
              <a:ext uri="{FF2B5EF4-FFF2-40B4-BE49-F238E27FC236}">
                <a16:creationId xmlns:a16="http://schemas.microsoft.com/office/drawing/2014/main" id="{8114EADB-A1A6-5D54-56EB-AB33D8130ED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90BE40-E8AE-DD4F-9CDF-DF776AC898E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681656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635AF030-1BFB-1DC6-320D-92F3ECE187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68165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8FCC25A4-9E37-FA79-3D5F-A3D449EF169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8888" y="6467632"/>
            <a:ext cx="868165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11A1840-D890-4448-4701-DD0761E643F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FB200DAD-01BA-E815-15BF-F2E2808FFD78}"/>
              </a:ext>
            </a:extLst>
          </p:cNvPr>
          <p:cNvSpPr/>
          <p:nvPr userDrawn="1"/>
        </p:nvSpPr>
        <p:spPr>
          <a:xfrm>
            <a:off x="2229912" y="3679467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D51ED2C1-130A-17CB-8A26-485E1ED1FD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354878" y="3831728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C23D7D8-A36A-FCFA-C363-1E3AACD9EC82}"/>
              </a:ext>
            </a:extLst>
          </p:cNvPr>
          <p:cNvSpPr/>
          <p:nvPr userDrawn="1"/>
        </p:nvSpPr>
        <p:spPr>
          <a:xfrm>
            <a:off x="2229912" y="5452284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0B15884B-AD96-F417-E810-6FC0456CBD1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354878" y="5604545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32" name="Picture 9">
            <a:extLst>
              <a:ext uri="{FF2B5EF4-FFF2-40B4-BE49-F238E27FC236}">
                <a16:creationId xmlns:a16="http://schemas.microsoft.com/office/drawing/2014/main" id="{8772F3A8-1D99-6641-B3F7-B75A3ECB0D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2739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FCADB6DF-75B4-08A8-CFD3-088844059BC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62515" y="1915097"/>
            <a:ext cx="0" cy="42662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id="{76AF13A1-963E-1349-B0F8-BC3764CA0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33645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5635CE05-A8B6-0F9D-8524-AC66A4CB21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88D966E8-7EA5-758A-7F8B-5D4DD100B2A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16672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380A6EC-B8CC-900A-BA04-159F8F127C1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16672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2D4286EE-15ED-C598-A2B5-8344B126A78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5" name="Picture 9">
            <a:extLst>
              <a:ext uri="{FF2B5EF4-FFF2-40B4-BE49-F238E27FC236}">
                <a16:creationId xmlns:a16="http://schemas.microsoft.com/office/drawing/2014/main" id="{82A4F448-A111-C04A-BD52-267DA58C44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48791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Insertar gráfico o carta </a:t>
            </a:r>
            <a:r>
              <a:rPr lang="es-ES" err="1"/>
              <a:t>gantt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77D00938-9212-2EB2-FA3E-A411D669549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95971976-0E83-FEA9-D8E3-EF53C32CED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4ECEDE42-346E-73AF-914F-DDAF094C05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7602F1B-E0CD-1B18-2D9E-01D2A99AEF9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id="{7A130A72-D212-A248-89EA-57FD7F4D95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1878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2"/>
            <a:ext cx="5162397" cy="2403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0"/>
            <a:ext cx="4378769" cy="3676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3959900" cy="3903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id="{2A60C413-F74F-A342-BF7D-FEA64A016E3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03538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203F6A84-F147-7F57-D340-54C63B0BD06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9D38886-94D1-A6ED-4569-789456D09F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E178C68-7235-DC4D-A33B-C70CDC8EEF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9379B90-7EEC-2E3F-1CF0-DB9DD7789CB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9">
            <a:extLst>
              <a:ext uri="{FF2B5EF4-FFF2-40B4-BE49-F238E27FC236}">
                <a16:creationId xmlns:a16="http://schemas.microsoft.com/office/drawing/2014/main" id="{7AAA2658-B479-A44D-BC0D-8B81C32F26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45180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3" pos="5632">
          <p15:clr>
            <a:srgbClr val="FBAE40"/>
          </p15:clr>
        </p15:guide>
        <p15:guide id="4" pos="3840">
          <p15:clr>
            <a:srgbClr val="FBAE40"/>
          </p15:clr>
        </p15:guide>
        <p15:guide id="5" pos="2048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F91C7D0D-913E-2BD6-A029-C1F997C4310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EC21E73-5744-D27B-8CBE-8A518E2D3F7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6E500EB6-4F25-F564-5C80-21656E61914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id="{D2BC01B7-7F51-FE41-8A90-8B20D4F886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65856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8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4C91283-45D0-3E03-A9FF-55BCD9B704C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47A559D5-DF30-4ACD-5D59-ED98AE3999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90704A90-4770-B1C4-DCF5-87CDF83645F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id="{9A5072A0-4002-E44F-8370-B6A8779A5F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31244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7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  <p15:guide id="7" orient="horz" pos="667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845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FFFAE49-5C7E-779C-FE0C-21EA6D7F834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A277397-57FC-D54F-7087-3C738FBAC4C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número de diapositiva 1">
            <a:extLst>
              <a:ext uri="{FF2B5EF4-FFF2-40B4-BE49-F238E27FC236}">
                <a16:creationId xmlns:a16="http://schemas.microsoft.com/office/drawing/2014/main" id="{1989735B-7A49-B1CB-8DF1-075E71B8E0E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A569BEF4-D7E2-6D05-14BD-07EA960ADB8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id="{A10D525C-D188-C74B-8970-72D92A292A7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68993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7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105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6595D45-3E0C-751A-B022-9C87CFFF2F1B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6371A669-6E98-684F-AA09-CAF189C7B79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79475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 userDrawn="1">
          <p15:clr>
            <a:srgbClr val="FBAE40"/>
          </p15:clr>
        </p15:guide>
        <p15:guide id="3" orient="horz" pos="777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100731551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132647254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99993" y="1956390"/>
            <a:ext cx="2028380" cy="1429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65021" y="3596958"/>
            <a:ext cx="3661513" cy="25803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534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5346" y="3596958"/>
            <a:ext cx="3103602" cy="2187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76681" y="1446028"/>
            <a:ext cx="2752592" cy="1939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069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9" name="Picture 9">
            <a:extLst>
              <a:ext uri="{FF2B5EF4-FFF2-40B4-BE49-F238E27FC236}">
                <a16:creationId xmlns:a16="http://schemas.microsoft.com/office/drawing/2014/main" id="{277926F9-7738-E54C-AFDC-1307B1227F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9660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CF1D8DA-AE91-B336-5F4F-622ABF73F891}"/>
              </a:ext>
            </a:extLst>
          </p:cNvPr>
          <p:cNvGrpSpPr/>
          <p:nvPr userDrawn="1"/>
        </p:nvGrpSpPr>
        <p:grpSpPr>
          <a:xfrm>
            <a:off x="3858" y="6170736"/>
            <a:ext cx="12188142" cy="769918"/>
            <a:chOff x="3858" y="6152399"/>
            <a:chExt cx="12478428" cy="78825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93BFBBF-EA61-7CDE-8490-495FA9B23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10800000">
              <a:off x="3858" y="6155622"/>
              <a:ext cx="9722734" cy="7023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4C8EA7-94E9-33E0-B16D-5DEC620A0A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300" t="-11714"/>
            <a:stretch/>
          </p:blipFill>
          <p:spPr>
            <a:xfrm rot="10800000">
              <a:off x="9713918" y="6152399"/>
              <a:ext cx="2768368" cy="788255"/>
            </a:xfrm>
            <a:prstGeom prst="rect">
              <a:avLst/>
            </a:prstGeom>
          </p:spPr>
        </p:pic>
      </p:grp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4" y="6463751"/>
            <a:ext cx="8347074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0192107" y="6463750"/>
            <a:ext cx="1542766" cy="276989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id="{543DA8BA-4F7D-714C-AC44-D7DAA46C1F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3065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ACCBF752-43F9-3D42-A021-FF715DC7715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35497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7336333D-C26B-EB07-8FBD-B3FD72C3649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88748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232B572-5761-5C00-420A-B9EDA9F646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39611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5E27719-0FF0-A561-FD72-4E80D63799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rgbClr val="1E11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4133512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C4780D07-F93A-DD47-B2C4-CBAED270497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14954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1292E102-2234-9AE9-43F9-1A80E7A5AA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1233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EA46E090-29E9-6D24-97F3-40AB9216DD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969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E5DFB5B-6456-EFCA-2081-B512D51BE5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4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0A35E31-20A2-1E54-42EB-771CE83B16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1233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95935E3-04B2-E6B4-BD22-022586D55B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DA74DE6B-B246-971B-3BA6-AEDE507248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6" name="Conector recto 18">
            <a:extLst>
              <a:ext uri="{FF2B5EF4-FFF2-40B4-BE49-F238E27FC236}">
                <a16:creationId xmlns:a16="http://schemas.microsoft.com/office/drawing/2014/main" id="{79A3939C-E2E4-90BA-D536-FE400D5D888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id="{0AAD014A-0DF0-AC4A-9E64-8615A5ADB1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31781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9" Type="http://schemas.openxmlformats.org/officeDocument/2006/relationships/slideLayout" Target="../slideLayouts/slideLayout91.xml"/><Relationship Id="rId21" Type="http://schemas.openxmlformats.org/officeDocument/2006/relationships/slideLayout" Target="../slideLayouts/slideLayout73.xml"/><Relationship Id="rId34" Type="http://schemas.openxmlformats.org/officeDocument/2006/relationships/slideLayout" Target="../slideLayouts/slideLayout86.xml"/><Relationship Id="rId42" Type="http://schemas.openxmlformats.org/officeDocument/2006/relationships/slideLayout" Target="../slideLayouts/slideLayout94.xml"/><Relationship Id="rId47" Type="http://schemas.openxmlformats.org/officeDocument/2006/relationships/slideLayout" Target="../slideLayouts/slideLayout99.xml"/><Relationship Id="rId50" Type="http://schemas.openxmlformats.org/officeDocument/2006/relationships/slideLayout" Target="../slideLayouts/slideLayout102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32" Type="http://schemas.openxmlformats.org/officeDocument/2006/relationships/slideLayout" Target="../slideLayouts/slideLayout84.xml"/><Relationship Id="rId37" Type="http://schemas.openxmlformats.org/officeDocument/2006/relationships/slideLayout" Target="../slideLayouts/slideLayout89.xml"/><Relationship Id="rId40" Type="http://schemas.openxmlformats.org/officeDocument/2006/relationships/slideLayout" Target="../slideLayouts/slideLayout92.xml"/><Relationship Id="rId45" Type="http://schemas.openxmlformats.org/officeDocument/2006/relationships/slideLayout" Target="../slideLayouts/slideLayout97.xml"/><Relationship Id="rId53" Type="http://schemas.openxmlformats.org/officeDocument/2006/relationships/theme" Target="../theme/theme2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31" Type="http://schemas.openxmlformats.org/officeDocument/2006/relationships/slideLayout" Target="../slideLayouts/slideLayout83.xml"/><Relationship Id="rId44" Type="http://schemas.openxmlformats.org/officeDocument/2006/relationships/slideLayout" Target="../slideLayouts/slideLayout96.xml"/><Relationship Id="rId52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slideLayout" Target="../slideLayouts/slideLayout79.xml"/><Relationship Id="rId30" Type="http://schemas.openxmlformats.org/officeDocument/2006/relationships/slideLayout" Target="../slideLayouts/slideLayout82.xml"/><Relationship Id="rId35" Type="http://schemas.openxmlformats.org/officeDocument/2006/relationships/slideLayout" Target="../slideLayouts/slideLayout87.xml"/><Relationship Id="rId43" Type="http://schemas.openxmlformats.org/officeDocument/2006/relationships/slideLayout" Target="../slideLayouts/slideLayout95.xml"/><Relationship Id="rId48" Type="http://schemas.openxmlformats.org/officeDocument/2006/relationships/slideLayout" Target="../slideLayouts/slideLayout100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60.xml"/><Relationship Id="rId51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33" Type="http://schemas.openxmlformats.org/officeDocument/2006/relationships/slideLayout" Target="../slideLayouts/slideLayout85.xml"/><Relationship Id="rId38" Type="http://schemas.openxmlformats.org/officeDocument/2006/relationships/slideLayout" Target="../slideLayouts/slideLayout90.xml"/><Relationship Id="rId46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72.xml"/><Relationship Id="rId41" Type="http://schemas.openxmlformats.org/officeDocument/2006/relationships/slideLayout" Target="../slideLayouts/slideLayout93.xml"/><Relationship Id="rId54" Type="http://schemas.openxmlformats.org/officeDocument/2006/relationships/tags" Target="../tags/tag33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slideLayout" Target="../slideLayouts/slideLayout80.xml"/><Relationship Id="rId36" Type="http://schemas.openxmlformats.org/officeDocument/2006/relationships/slideLayout" Target="../slideLayouts/slideLayout88.xml"/><Relationship Id="rId49" Type="http://schemas.openxmlformats.org/officeDocument/2006/relationships/slideLayout" Target="../slideLayouts/slideLayout10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slideLayout" Target="../slideLayouts/slideLayout130.xml"/><Relationship Id="rId39" Type="http://schemas.openxmlformats.org/officeDocument/2006/relationships/slideLayout" Target="../slideLayouts/slideLayout143.xml"/><Relationship Id="rId21" Type="http://schemas.openxmlformats.org/officeDocument/2006/relationships/slideLayout" Target="../slideLayouts/slideLayout125.xml"/><Relationship Id="rId34" Type="http://schemas.openxmlformats.org/officeDocument/2006/relationships/slideLayout" Target="../slideLayouts/slideLayout138.xml"/><Relationship Id="rId42" Type="http://schemas.openxmlformats.org/officeDocument/2006/relationships/slideLayout" Target="../slideLayouts/slideLayout146.xml"/><Relationship Id="rId47" Type="http://schemas.openxmlformats.org/officeDocument/2006/relationships/slideLayout" Target="../slideLayouts/slideLayout151.xml"/><Relationship Id="rId50" Type="http://schemas.openxmlformats.org/officeDocument/2006/relationships/slideLayout" Target="../slideLayouts/slideLayout154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32" Type="http://schemas.openxmlformats.org/officeDocument/2006/relationships/slideLayout" Target="../slideLayouts/slideLayout136.xml"/><Relationship Id="rId37" Type="http://schemas.openxmlformats.org/officeDocument/2006/relationships/slideLayout" Target="../slideLayouts/slideLayout141.xml"/><Relationship Id="rId40" Type="http://schemas.openxmlformats.org/officeDocument/2006/relationships/slideLayout" Target="../slideLayouts/slideLayout144.xml"/><Relationship Id="rId45" Type="http://schemas.openxmlformats.org/officeDocument/2006/relationships/slideLayout" Target="../slideLayouts/slideLayout149.xml"/><Relationship Id="rId53" Type="http://schemas.openxmlformats.org/officeDocument/2006/relationships/theme" Target="../theme/theme3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31" Type="http://schemas.openxmlformats.org/officeDocument/2006/relationships/slideLayout" Target="../slideLayouts/slideLayout135.xml"/><Relationship Id="rId44" Type="http://schemas.openxmlformats.org/officeDocument/2006/relationships/slideLayout" Target="../slideLayouts/slideLayout148.xml"/><Relationship Id="rId52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slideLayout" Target="../slideLayouts/slideLayout131.xml"/><Relationship Id="rId30" Type="http://schemas.openxmlformats.org/officeDocument/2006/relationships/slideLayout" Target="../slideLayouts/slideLayout134.xml"/><Relationship Id="rId35" Type="http://schemas.openxmlformats.org/officeDocument/2006/relationships/slideLayout" Target="../slideLayouts/slideLayout139.xml"/><Relationship Id="rId43" Type="http://schemas.openxmlformats.org/officeDocument/2006/relationships/slideLayout" Target="../slideLayouts/slideLayout147.xml"/><Relationship Id="rId48" Type="http://schemas.openxmlformats.org/officeDocument/2006/relationships/slideLayout" Target="../slideLayouts/slideLayout152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112.xml"/><Relationship Id="rId51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slideLayout" Target="../slideLayouts/slideLayout129.xml"/><Relationship Id="rId33" Type="http://schemas.openxmlformats.org/officeDocument/2006/relationships/slideLayout" Target="../slideLayouts/slideLayout137.xml"/><Relationship Id="rId38" Type="http://schemas.openxmlformats.org/officeDocument/2006/relationships/slideLayout" Target="../slideLayouts/slideLayout142.xml"/><Relationship Id="rId4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24.xml"/><Relationship Id="rId41" Type="http://schemas.openxmlformats.org/officeDocument/2006/relationships/slideLayout" Target="../slideLayouts/slideLayout145.xml"/><Relationship Id="rId54" Type="http://schemas.openxmlformats.org/officeDocument/2006/relationships/tags" Target="../tags/tag64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28" Type="http://schemas.openxmlformats.org/officeDocument/2006/relationships/slideLayout" Target="../slideLayouts/slideLayout132.xml"/><Relationship Id="rId36" Type="http://schemas.openxmlformats.org/officeDocument/2006/relationships/slideLayout" Target="../slideLayouts/slideLayout140.xml"/><Relationship Id="rId49" Type="http://schemas.openxmlformats.org/officeDocument/2006/relationships/slideLayout" Target="../slideLayouts/slideLayout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63638971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5" imgW="7772400" imgH="10058400" progId="TCLayout.ActiveDocument.1">
                  <p:embed/>
                </p:oleObj>
              </mc:Choice>
              <mc:Fallback>
                <p:oleObj name="Diapositiva de think-cell" r:id="rId55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DBAE7E76-845B-584D-B531-91749B16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712" r:id="rId1"/>
    <p:sldLayoutId id="2147483668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697" r:id="rId8"/>
    <p:sldLayoutId id="2147483693" r:id="rId9"/>
    <p:sldLayoutId id="2147483713" r:id="rId10"/>
    <p:sldLayoutId id="2147483688" r:id="rId11"/>
    <p:sldLayoutId id="2147483734" r:id="rId12"/>
    <p:sldLayoutId id="2147483691" r:id="rId13"/>
    <p:sldLayoutId id="2147483732" r:id="rId14"/>
    <p:sldLayoutId id="2147483733" r:id="rId15"/>
    <p:sldLayoutId id="2147483669" r:id="rId16"/>
    <p:sldLayoutId id="2147483670" r:id="rId17"/>
    <p:sldLayoutId id="2147483731" r:id="rId18"/>
    <p:sldLayoutId id="2147483671" r:id="rId19"/>
    <p:sldLayoutId id="2147483679" r:id="rId20"/>
    <p:sldLayoutId id="2147483674" r:id="rId21"/>
    <p:sldLayoutId id="2147483698" r:id="rId22"/>
    <p:sldLayoutId id="2147483709" r:id="rId23"/>
    <p:sldLayoutId id="2147483673" r:id="rId24"/>
    <p:sldLayoutId id="2147483694" r:id="rId25"/>
    <p:sldLayoutId id="2147483675" r:id="rId26"/>
    <p:sldLayoutId id="2147483676" r:id="rId27"/>
    <p:sldLayoutId id="2147483678" r:id="rId28"/>
    <p:sldLayoutId id="2147483677" r:id="rId29"/>
    <p:sldLayoutId id="2147483680" r:id="rId30"/>
    <p:sldLayoutId id="2147483681" r:id="rId31"/>
    <p:sldLayoutId id="2147483695" r:id="rId32"/>
    <p:sldLayoutId id="2147483718" r:id="rId33"/>
    <p:sldLayoutId id="2147483682" r:id="rId34"/>
    <p:sldLayoutId id="2147483685" r:id="rId35"/>
    <p:sldLayoutId id="2147483686" r:id="rId36"/>
    <p:sldLayoutId id="2147483689" r:id="rId37"/>
    <p:sldLayoutId id="2147483690" r:id="rId38"/>
    <p:sldLayoutId id="2147483719" r:id="rId39"/>
    <p:sldLayoutId id="2147483735" r:id="rId40"/>
    <p:sldLayoutId id="2147483715" r:id="rId41"/>
    <p:sldLayoutId id="2147483720" r:id="rId42"/>
    <p:sldLayoutId id="2147483723" r:id="rId43"/>
    <p:sldLayoutId id="2147483725" r:id="rId44"/>
    <p:sldLayoutId id="2147483724" r:id="rId45"/>
    <p:sldLayoutId id="2147483722" r:id="rId46"/>
    <p:sldLayoutId id="2147483721" r:id="rId47"/>
    <p:sldLayoutId id="2147483736" r:id="rId48"/>
    <p:sldLayoutId id="2147483706" r:id="rId49"/>
    <p:sldLayoutId id="2147483702" r:id="rId50"/>
    <p:sldLayoutId id="2147483789" r:id="rId51"/>
    <p:sldLayoutId id="2147483790" r:id="rId52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1">
          <p15:clr>
            <a:srgbClr val="F26B43"/>
          </p15:clr>
        </p15:guide>
        <p15:guide id="2" pos="7394">
          <p15:clr>
            <a:srgbClr val="F26B43"/>
          </p15:clr>
        </p15:guide>
        <p15:guide id="3" pos="275">
          <p15:clr>
            <a:srgbClr val="F26B43"/>
          </p15:clr>
        </p15:guide>
        <p15:guide id="4" orient="horz" pos="407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63638971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5" imgW="7772400" imgH="10058400" progId="TCLayout.ActiveDocument.1">
                  <p:embed/>
                </p:oleObj>
              </mc:Choice>
              <mc:Fallback>
                <p:oleObj name="Diapositiva de think-cell" r:id="rId55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DBAE7E76-845B-584D-B531-91749B16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32451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  <p:sldLayoutId id="2147483811" r:id="rId20"/>
    <p:sldLayoutId id="2147483812" r:id="rId21"/>
    <p:sldLayoutId id="2147483813" r:id="rId22"/>
    <p:sldLayoutId id="2147483814" r:id="rId23"/>
    <p:sldLayoutId id="2147483815" r:id="rId24"/>
    <p:sldLayoutId id="2147483816" r:id="rId25"/>
    <p:sldLayoutId id="2147483817" r:id="rId26"/>
    <p:sldLayoutId id="2147483818" r:id="rId27"/>
    <p:sldLayoutId id="2147483819" r:id="rId28"/>
    <p:sldLayoutId id="2147483820" r:id="rId29"/>
    <p:sldLayoutId id="2147483821" r:id="rId30"/>
    <p:sldLayoutId id="2147483822" r:id="rId31"/>
    <p:sldLayoutId id="2147483823" r:id="rId32"/>
    <p:sldLayoutId id="2147483824" r:id="rId33"/>
    <p:sldLayoutId id="2147483825" r:id="rId34"/>
    <p:sldLayoutId id="2147483826" r:id="rId35"/>
    <p:sldLayoutId id="2147483827" r:id="rId36"/>
    <p:sldLayoutId id="2147483828" r:id="rId37"/>
    <p:sldLayoutId id="2147483829" r:id="rId38"/>
    <p:sldLayoutId id="2147483830" r:id="rId39"/>
    <p:sldLayoutId id="2147483831" r:id="rId40"/>
    <p:sldLayoutId id="2147483832" r:id="rId41"/>
    <p:sldLayoutId id="2147483833" r:id="rId42"/>
    <p:sldLayoutId id="2147483834" r:id="rId43"/>
    <p:sldLayoutId id="2147483835" r:id="rId44"/>
    <p:sldLayoutId id="2147483836" r:id="rId45"/>
    <p:sldLayoutId id="2147483837" r:id="rId46"/>
    <p:sldLayoutId id="2147483838" r:id="rId47"/>
    <p:sldLayoutId id="2147483839" r:id="rId48"/>
    <p:sldLayoutId id="2147483840" r:id="rId49"/>
    <p:sldLayoutId id="2147483841" r:id="rId50"/>
    <p:sldLayoutId id="2147483842" r:id="rId51"/>
    <p:sldLayoutId id="2147483843" r:id="rId52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1">
          <p15:clr>
            <a:srgbClr val="F26B43"/>
          </p15:clr>
        </p15:guide>
        <p15:guide id="2" pos="7394">
          <p15:clr>
            <a:srgbClr val="F26B43"/>
          </p15:clr>
        </p15:guide>
        <p15:guide id="3" pos="275">
          <p15:clr>
            <a:srgbClr val="F26B43"/>
          </p15:clr>
        </p15:guide>
        <p15:guide id="4" orient="horz" pos="407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5" imgW="7772400" imgH="10058400" progId="TCLayout.ActiveDocument.1">
                  <p:embed/>
                </p:oleObj>
              </mc:Choice>
              <mc:Fallback>
                <p:oleObj name="Diapositiva de think-cell" r:id="rId55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DBAE7E76-845B-584D-B531-91749B16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15BF45">
                    <a:tint val="75000"/>
                  </a:srgbClr>
                </a:solidFill>
              </a:rPr>
              <a:pPr/>
              <a:t>‹Nº›</a:t>
            </a:fld>
            <a:endParaRPr lang="es-CL">
              <a:solidFill>
                <a:srgbClr val="15BF4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22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  <p:sldLayoutId id="2147483873" r:id="rId29"/>
    <p:sldLayoutId id="2147483874" r:id="rId30"/>
    <p:sldLayoutId id="2147483875" r:id="rId31"/>
    <p:sldLayoutId id="2147483876" r:id="rId32"/>
    <p:sldLayoutId id="2147483877" r:id="rId33"/>
    <p:sldLayoutId id="2147483878" r:id="rId34"/>
    <p:sldLayoutId id="2147483879" r:id="rId35"/>
    <p:sldLayoutId id="2147483880" r:id="rId36"/>
    <p:sldLayoutId id="2147483881" r:id="rId37"/>
    <p:sldLayoutId id="2147483882" r:id="rId38"/>
    <p:sldLayoutId id="2147483883" r:id="rId39"/>
    <p:sldLayoutId id="2147483884" r:id="rId40"/>
    <p:sldLayoutId id="2147483885" r:id="rId41"/>
    <p:sldLayoutId id="2147483886" r:id="rId42"/>
    <p:sldLayoutId id="2147483887" r:id="rId43"/>
    <p:sldLayoutId id="2147483888" r:id="rId44"/>
    <p:sldLayoutId id="2147483889" r:id="rId45"/>
    <p:sldLayoutId id="2147483890" r:id="rId46"/>
    <p:sldLayoutId id="2147483891" r:id="rId47"/>
    <p:sldLayoutId id="2147483892" r:id="rId48"/>
    <p:sldLayoutId id="2147483893" r:id="rId49"/>
    <p:sldLayoutId id="2147483894" r:id="rId50"/>
    <p:sldLayoutId id="2147483895" r:id="rId51"/>
    <p:sldLayoutId id="2147483896" r:id="rId52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1">
          <p15:clr>
            <a:srgbClr val="F26B43"/>
          </p15:clr>
        </p15:guide>
        <p15:guide id="2" pos="7394">
          <p15:clr>
            <a:srgbClr val="F26B43"/>
          </p15:clr>
        </p15:guide>
        <p15:guide id="3" pos="275">
          <p15:clr>
            <a:srgbClr val="F26B43"/>
          </p15:clr>
        </p15:guide>
        <p15:guide id="4" orient="horz" pos="40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76.xml"/><Relationship Id="rId7" Type="http://schemas.openxmlformats.org/officeDocument/2006/relationships/diagramData" Target="../diagrams/data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48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9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nam02.safelinks.protection.outlook.com/?url=https://diplomas.achs.cl/&amp;data=05|02|kflarenasm@achs.cl|1ae468cd42be4f76c73808dd8e41c729|6d4bbe0a56544c69a682bf7dcdaed8e7|0|0|638823135361111719|Unknown|TWFpbGZsb3d8eyJFbXB0eU1hcGkiOnRydWUsIlYiOiIwLjAuMDAwMCIsIlAiOiJXaW4zMiIsIkFOIjoiTWFpbCIsIldUIjoyfQ%3D%3D|0|||&amp;sdata=MBPr13h%2BTrcg/Q/Na9uHH4FClzF6lR/qZsDg/5Hmw4A%3D&amp;reserved=0" TargetMode="External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0.bin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0.bin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hyperlink" Target="https://achsvirtual.achs.cl/" TargetMode="Externa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hyperlink" Target="https://achs.sharepoint.com/sites/Capacitacion/SitePages/Cursos.aspx" TargetMode="Externa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11" Type="http://schemas.openxmlformats.org/officeDocument/2006/relationships/image" Target="../media/image48.emf"/><Relationship Id="rId5" Type="http://schemas.openxmlformats.org/officeDocument/2006/relationships/tags" Target="../tags/tag115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114.xml"/><Relationship Id="rId9" Type="http://schemas.openxmlformats.org/officeDocument/2006/relationships/notesSlide" Target="../notesSlides/notesSlide6.xml"/><Relationship Id="rId14" Type="http://schemas.openxmlformats.org/officeDocument/2006/relationships/hyperlink" Target="http://s2.achs.cl/sitios/capacitacion/Documentos%20compartidos/Forms/AllItems.aspx?RootFolder=/sitios/capacitacion/Documentos%20compartidos/Cursos%20presenciales%202022&amp;FolderCTID=0x0120000BC659E4E958D14FAF3FC41C6E769CFF&amp;View=%7b7682B4E5-0F9A-45AB-A" TargetMode="External"/></Relationships>
</file>

<file path=ppt/slides/_rels/slide46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00_0.xml"/><Relationship Id="rId1" Type="http://schemas.openxmlformats.org/officeDocument/2006/relationships/slideLayout" Target="../slideLayouts/slideLayout66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hyperlink" Target="http://soportepreventivo.achs.cl/" TargetMode="External"/><Relationship Id="rId3" Type="http://schemas.openxmlformats.org/officeDocument/2006/relationships/notesSlide" Target="../notesSlides/notesSlide7.xml"/><Relationship Id="rId7" Type="http://schemas.openxmlformats.org/officeDocument/2006/relationships/hyperlink" Target="https://achs-my.sharepoint.com/:f:/g/personal/gptplc_achs_cl/Ejn686AfFZJKmPzajqNZTI4BlTZI9OAz-KimsuBjJFRu4A?e=P5rrZ0" TargetMode="External"/><Relationship Id="rId2" Type="http://schemas.openxmlformats.org/officeDocument/2006/relationships/slideLayout" Target="../slideLayouts/slideLayout128.xml"/><Relationship Id="rId1" Type="http://schemas.openxmlformats.org/officeDocument/2006/relationships/tags" Target="../tags/tag118.x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12.bin"/><Relationship Id="rId4" Type="http://schemas.microsoft.com/office/2018/10/relationships/comments" Target="../comments/modernComment_1D1_3ADE8D1C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3.bin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988A22B-33C3-E2F4-9056-EC28413C375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9079" y="2588837"/>
            <a:ext cx="7332921" cy="1461692"/>
          </a:xfrm>
        </p:spPr>
        <p:txBody>
          <a:bodyPr lIns="0" tIns="0" rIns="0" bIns="0" anchor="t"/>
          <a:lstStyle/>
          <a:p>
            <a:pPr algn="ctr"/>
            <a:r>
              <a:rPr lang="es-ES" sz="2500">
                <a:solidFill>
                  <a:schemeClr val="tx2"/>
                </a:solidFill>
                <a:latin typeface="Arial"/>
                <a:cs typeface="Arial"/>
              </a:rPr>
              <a:t>REPOSITORIO </a:t>
            </a:r>
          </a:p>
          <a:p>
            <a:pPr algn="ctr"/>
            <a:r>
              <a:rPr lang="es-ES" sz="2500">
                <a:solidFill>
                  <a:schemeClr val="tx2"/>
                </a:solidFill>
                <a:latin typeface="Arial"/>
                <a:cs typeface="Arial"/>
              </a:rPr>
              <a:t>EQUIPO REACTIVO</a:t>
            </a:r>
          </a:p>
          <a:p>
            <a:pPr algn="ctr"/>
            <a:r>
              <a:rPr lang="es-ES" sz="2500">
                <a:solidFill>
                  <a:schemeClr val="tx2"/>
                </a:solidFill>
                <a:latin typeface="Arial"/>
                <a:cs typeface="Arial"/>
              </a:rPr>
              <a:t>VISUALIZACIÓN EQUIPO DE ATENCIÓ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5D995D4-4E73-408A-CBD9-8929F3B59A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36148" y="6301635"/>
            <a:ext cx="874223" cy="251903"/>
          </a:xfrm>
        </p:spPr>
        <p:txBody>
          <a:bodyPr lIns="91440" tIns="45720" rIns="91440" bIns="45720" anchor="t"/>
          <a:lstStyle/>
          <a:p>
            <a:r>
              <a:rPr lang="es-ES">
                <a:latin typeface="Arial"/>
                <a:cs typeface="Arial"/>
              </a:rPr>
              <a:t>24-06-2025</a:t>
            </a:r>
            <a:endParaRPr lang="x-none"/>
          </a:p>
        </p:txBody>
      </p:sp>
      <p:sp>
        <p:nvSpPr>
          <p:cNvPr id="4" name="Marcador de texto 1">
            <a:extLst>
              <a:ext uri="{FF2B5EF4-FFF2-40B4-BE49-F238E27FC236}">
                <a16:creationId xmlns:a16="http://schemas.microsoft.com/office/drawing/2014/main" id="{E80A1215-A39F-FA72-9E32-65D0B2392BBD}"/>
              </a:ext>
            </a:extLst>
          </p:cNvPr>
          <p:cNvSpPr txBox="1">
            <a:spLocks/>
          </p:cNvSpPr>
          <p:nvPr/>
        </p:nvSpPr>
        <p:spPr>
          <a:xfrm>
            <a:off x="5605410" y="3394831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500" b="0" i="0" u="none" strike="noStrike" cap="none" spc="0" baseline="0">
                <a:solidFill>
                  <a:schemeClr val="bg2"/>
                </a:solidFill>
                <a:uFillTx/>
                <a:latin typeface="ACHS Nueva Sans Medium" pitchFamily="2" charset="77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s-CL" sz="1500" b="0" i="0" u="none" strike="noStrike" kern="0" cap="none" spc="0" normalizeH="0" baseline="0" noProof="0">
              <a:ln>
                <a:noFill/>
              </a:ln>
              <a:solidFill>
                <a:srgbClr val="E9EADD"/>
              </a:solidFill>
              <a:effectLst/>
              <a:uLnTx/>
              <a:uFillTx/>
              <a:latin typeface="ACHS Nueva Sans Medium" pitchFamily="2" charset="77"/>
              <a:cs typeface="Arial"/>
              <a:sym typeface="Arial"/>
            </a:endParaRPr>
          </a:p>
        </p:txBody>
      </p:sp>
      <p:sp>
        <p:nvSpPr>
          <p:cNvPr id="5" name="Marcador de texto 2">
            <a:extLst>
              <a:ext uri="{FF2B5EF4-FFF2-40B4-BE49-F238E27FC236}">
                <a16:creationId xmlns:a16="http://schemas.microsoft.com/office/drawing/2014/main" id="{3ACCB2AA-1FDB-755A-C3DA-F917D85A5A3D}"/>
              </a:ext>
            </a:extLst>
          </p:cNvPr>
          <p:cNvSpPr txBox="1">
            <a:spLocks/>
          </p:cNvSpPr>
          <p:nvPr/>
        </p:nvSpPr>
        <p:spPr>
          <a:xfrm>
            <a:off x="5614259" y="1761812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600" b="0" i="0" u="none" strike="noStrike" cap="none" spc="0" baseline="0">
                <a:solidFill>
                  <a:schemeClr val="tx1"/>
                </a:solidFill>
                <a:uFillTx/>
                <a:latin typeface="ACHS Nueva Serif" pitchFamily="2" charset="77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s-CL" sz="2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CHS Nueva Serif" pitchFamily="2" charset="77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7883041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49805C0-333A-D2AF-F077-1C6D2E9098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7089" b="9494"/>
          <a:stretch/>
        </p:blipFill>
        <p:spPr>
          <a:xfrm>
            <a:off x="658512" y="603442"/>
            <a:ext cx="6656576" cy="27730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68ECF40-381E-B994-8550-6190E2C84911}"/>
              </a:ext>
            </a:extLst>
          </p:cNvPr>
          <p:cNvSpPr txBox="1"/>
          <p:nvPr/>
        </p:nvSpPr>
        <p:spPr>
          <a:xfrm>
            <a:off x="8967639" y="1299995"/>
            <a:ext cx="4120931" cy="2964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n-US" sz="1400" b="1" i="0" u="sng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Módulos</a:t>
            </a:r>
            <a:r>
              <a:rPr kumimoji="0" lang="en-US" sz="1400" b="1" i="0" u="sng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de </a:t>
            </a:r>
            <a:r>
              <a:rPr kumimoji="0" lang="en-US" sz="1400" b="1" i="0" u="sng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apacitación</a:t>
            </a:r>
            <a:endParaRPr kumimoji="0" lang="en-US" sz="1400" b="1" i="0" u="sng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7228F2-BD4C-537A-4C63-729614210368}"/>
              </a:ext>
            </a:extLst>
          </p:cNvPr>
          <p:cNvSpPr txBox="1"/>
          <p:nvPr/>
        </p:nvSpPr>
        <p:spPr>
          <a:xfrm>
            <a:off x="8967639" y="1749771"/>
            <a:ext cx="2931284" cy="12659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Ingres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los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ódulo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de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apacitaci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incluyend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fech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de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inici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y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fech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de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finalizaci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de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ad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ódul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</a:b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abe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destacar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que los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ódulo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dependerán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de la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programación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previa con la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empres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pic>
        <p:nvPicPr>
          <p:cNvPr id="20" name="Picture 1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6B10127-DD51-1BE2-D222-DC14C8A7EA3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4346" r="88" b="9364"/>
          <a:stretch/>
        </p:blipFill>
        <p:spPr>
          <a:xfrm>
            <a:off x="659615" y="3522377"/>
            <a:ext cx="6655473" cy="29182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6C0A8F3-878F-16FF-F101-697B37F0DA10}"/>
              </a:ext>
            </a:extLst>
          </p:cNvPr>
          <p:cNvSpPr txBox="1"/>
          <p:nvPr/>
        </p:nvSpPr>
        <p:spPr>
          <a:xfrm>
            <a:off x="8967639" y="3590675"/>
            <a:ext cx="3608441" cy="5180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n-US" sz="1400" b="1" i="0" u="sng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Solicitud</a:t>
            </a:r>
            <a:r>
              <a:rPr kumimoji="0" lang="en-US" sz="1400" b="1" i="0" u="sng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lang="en-US" sz="1400" b="1" i="0" u="sng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reada</a:t>
            </a:r>
            <a:endParaRPr kumimoji="0" lang="en-US" sz="1400" b="1" i="0" u="sng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E9EADD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FBE3A4-FC59-B750-C5DA-B4F373E31D34}"/>
              </a:ext>
            </a:extLst>
          </p:cNvPr>
          <p:cNvSpPr txBox="1"/>
          <p:nvPr/>
        </p:nvSpPr>
        <p:spPr>
          <a:xfrm>
            <a:off x="8967639" y="4072584"/>
            <a:ext cx="3036792" cy="14321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Un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vez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mpletad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los pasos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anteriore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,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habrá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reado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tu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olicitud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apacitación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.</a:t>
            </a:r>
          </a:p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Est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olicitud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erá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posteriorment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derivad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a OTEC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, y podrás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hace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eguimient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utilizand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númer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oportunidad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proporcionad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po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istem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474DCCB-BF8A-3400-9024-2776E4F957D8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207E5B60-1FAE-AB4E-B80C-D938C8F6F255}"/>
              </a:ext>
            </a:extLst>
          </p:cNvPr>
          <p:cNvSpPr/>
          <p:nvPr/>
        </p:nvSpPr>
        <p:spPr>
          <a:xfrm>
            <a:off x="6731956" y="2112686"/>
            <a:ext cx="583132" cy="358098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7AE9D23B-27B8-91CC-DF2E-E8CD7BDED1BC}"/>
              </a:ext>
            </a:extLst>
          </p:cNvPr>
          <p:cNvSpPr/>
          <p:nvPr/>
        </p:nvSpPr>
        <p:spPr>
          <a:xfrm>
            <a:off x="4410566" y="4981510"/>
            <a:ext cx="399178" cy="175706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895038840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número de diapositiva 13">
            <a:extLst>
              <a:ext uri="{FF2B5EF4-FFF2-40B4-BE49-F238E27FC236}">
                <a16:creationId xmlns:a16="http://schemas.microsoft.com/office/drawing/2014/main" id="{9964422D-C7CC-CD9A-D4FA-50AB9F336A7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8" name="Solicitud oportunidad-20250306_152107-Grabación de la reunión (2)">
            <a:hlinkClick r:id="" action="ppaction://media"/>
            <a:extLst>
              <a:ext uri="{FF2B5EF4-FFF2-40B4-BE49-F238E27FC236}">
                <a16:creationId xmlns:a16="http://schemas.microsoft.com/office/drawing/2014/main" id="{F353BD89-0633-092D-2105-55FF5386B55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5304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6960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5CF224-D170-D451-EAE6-1E7CC0BB93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889564A-6056-F2D6-A394-C7B39EE62D32}"/>
              </a:ext>
            </a:extLst>
          </p:cNvPr>
          <p:cNvSpPr txBox="1"/>
          <p:nvPr/>
        </p:nvSpPr>
        <p:spPr>
          <a:xfrm>
            <a:off x="5401995" y="5102951"/>
            <a:ext cx="6356252" cy="13752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lIns="0" tIns="0" rIns="0" bIns="0" numCol="1" spcCol="3810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FLUJO Y ETAPAS DE LOS CURSOS</a:t>
            </a:r>
            <a:endParaRPr kumimoji="0" lang="en-US" sz="20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611621457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642217" y="6495389"/>
            <a:ext cx="9588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-5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1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 idx="4294967295"/>
          </p:nvPr>
        </p:nvSpPr>
        <p:spPr>
          <a:xfrm>
            <a:off x="51670" y="141612"/>
            <a:ext cx="9577388" cy="505267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>
                <a:solidFill>
                  <a:schemeClr val="bg2"/>
                </a:solidFill>
              </a:rPr>
              <a:t>Flujo</a:t>
            </a:r>
            <a:r>
              <a:rPr sz="3200" spc="-45">
                <a:solidFill>
                  <a:schemeClr val="bg2"/>
                </a:solidFill>
              </a:rPr>
              <a:t> </a:t>
            </a:r>
            <a:r>
              <a:rPr sz="3200" spc="-5">
                <a:solidFill>
                  <a:schemeClr val="bg2"/>
                </a:solidFill>
              </a:rPr>
              <a:t>y</a:t>
            </a:r>
            <a:r>
              <a:rPr sz="3200" spc="-10">
                <a:solidFill>
                  <a:schemeClr val="bg2"/>
                </a:solidFill>
              </a:rPr>
              <a:t> </a:t>
            </a:r>
            <a:r>
              <a:rPr sz="3200" spc="-5" err="1">
                <a:solidFill>
                  <a:schemeClr val="bg2"/>
                </a:solidFill>
              </a:rPr>
              <a:t>etapas</a:t>
            </a:r>
            <a:r>
              <a:rPr sz="3200" spc="-5">
                <a:solidFill>
                  <a:schemeClr val="bg2"/>
                </a:solidFill>
              </a:rPr>
              <a:t> </a:t>
            </a:r>
            <a:r>
              <a:rPr sz="3200">
                <a:solidFill>
                  <a:schemeClr val="bg2"/>
                </a:solidFill>
              </a:rPr>
              <a:t>de</a:t>
            </a:r>
            <a:r>
              <a:rPr sz="3200" spc="-25">
                <a:solidFill>
                  <a:schemeClr val="bg2"/>
                </a:solidFill>
              </a:rPr>
              <a:t> </a:t>
            </a:r>
            <a:r>
              <a:rPr sz="3200" spc="-5">
                <a:solidFill>
                  <a:schemeClr val="bg2"/>
                </a:solidFill>
              </a:rPr>
              <a:t>cursos</a:t>
            </a:r>
            <a:endParaRPr lang="en-US" sz="3200" spc="-5">
              <a:solidFill>
                <a:schemeClr val="bg2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4482" y="691530"/>
            <a:ext cx="10448290" cy="861774"/>
          </a:xfrm>
          <a:prstGeom prst="rect">
            <a:avLst/>
          </a:prstGeom>
        </p:spPr>
        <p:txBody>
          <a:bodyPr vert="horz" wrap="square" lIns="0" tIns="88900" rIns="0" bIns="0" rtlCol="0" anchor="t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0" cap="none" spc="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Existen</a:t>
            </a:r>
            <a:r>
              <a:rPr kumimoji="0" sz="1600" b="1" i="0" u="none" strike="noStrike" kern="0" cap="none" spc="-2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3</a:t>
            </a:r>
            <a:r>
              <a:rPr kumimoji="0" sz="1600" b="1" i="0" u="none" strike="noStrike" kern="0" cap="none" spc="-1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600" b="1" i="0" u="none" strike="noStrike" kern="0" cap="none" spc="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etapas</a:t>
            </a:r>
            <a:r>
              <a:rPr kumimoji="0" sz="1600" b="1" i="0" u="none" strike="noStrike" kern="0" cap="none" spc="-2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que</a:t>
            </a:r>
            <a:r>
              <a:rPr kumimoji="0" sz="1600" b="1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600" b="1" i="0" u="none" strike="noStrike" kern="0" cap="none" spc="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definen</a:t>
            </a:r>
            <a:r>
              <a:rPr kumimoji="0" sz="1600" b="1" i="0" u="none" strike="noStrike" kern="0" cap="none" spc="-3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600" b="1" i="0" u="none" strike="noStrike" kern="0" cap="none" spc="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el</a:t>
            </a:r>
            <a:r>
              <a:rPr kumimoji="0" sz="1600" b="1" i="0" u="none" strike="noStrike" kern="0" cap="none" spc="-1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600" b="1" i="0" u="none" strike="noStrike" kern="0" cap="none" spc="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iclo</a:t>
            </a:r>
            <a:r>
              <a:rPr kumimoji="0" sz="1600" b="1" i="0" u="none" strike="noStrike" kern="0" cap="none" spc="-1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de</a:t>
            </a:r>
            <a:r>
              <a:rPr kumimoji="0" sz="1600" b="1" i="0" u="none" strike="noStrike" kern="0" cap="none" spc="-1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600" b="1" i="0" u="none" strike="noStrike" kern="0" cap="none" spc="-1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vida</a:t>
            </a:r>
            <a:r>
              <a:rPr kumimoji="0" sz="1600" b="1" i="0" u="none" strike="noStrike" kern="0" cap="none" spc="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de</a:t>
            </a:r>
            <a:r>
              <a:rPr kumimoji="0" sz="1600" b="1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un</a:t>
            </a:r>
            <a:r>
              <a:rPr kumimoji="0" sz="1600" b="1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600" b="1" i="0" u="none" strike="noStrike" kern="0" cap="none" spc="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urso</a:t>
            </a: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  <a:p>
            <a:pPr marL="12700" marR="5080" lvl="0" indent="0" algn="l" defTabSz="1219169" rtl="0" eaLnBrk="1" fontAlgn="auto" latinLnBrk="0" hangingPunct="0">
              <a:lnSpc>
                <a:spcPts val="1730"/>
              </a:lnSpc>
              <a:spcBef>
                <a:spcPts val="6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-1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Cada</a:t>
            </a:r>
            <a:r>
              <a:rPr kumimoji="0" sz="1600" b="0" i="0" u="none" strike="noStrike" kern="0" cap="none" spc="5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una</a:t>
            </a:r>
            <a:r>
              <a:rPr kumimoji="0" sz="1600" b="0" i="0" u="none" strike="noStrike" kern="0" cap="none" spc="4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de</a:t>
            </a:r>
            <a:r>
              <a:rPr kumimoji="0" sz="1600" b="0" i="0" u="none" strike="noStrike" kern="0" cap="none" spc="5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las</a:t>
            </a:r>
            <a:r>
              <a:rPr kumimoji="0" sz="1600" b="0" i="0" u="none" strike="noStrike" kern="0" cap="none" spc="5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etapas</a:t>
            </a:r>
            <a:r>
              <a:rPr kumimoji="0" sz="1600" b="0" i="0" u="none" strike="noStrike" kern="0" cap="none" spc="6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contiene</a:t>
            </a:r>
            <a:r>
              <a:rPr kumimoji="0" sz="1600" b="0" i="0" u="none" strike="noStrike" kern="0" cap="none" spc="4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sub-</a:t>
            </a:r>
            <a:r>
              <a:rPr kumimoji="0" sz="1600" b="0" i="0" u="none" strike="noStrike" kern="0" cap="none" spc="-5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etapas</a:t>
            </a:r>
            <a:r>
              <a:rPr kumimoji="0" sz="1600" b="0" i="0" u="none" strike="noStrike" kern="0" cap="none" spc="6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diferenciadas</a:t>
            </a:r>
            <a:r>
              <a:rPr kumimoji="0" sz="1600" b="0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,</a:t>
            </a:r>
            <a:r>
              <a:rPr kumimoji="0" sz="1600" b="0" i="0" u="none" strike="noStrike" kern="0" cap="none" spc="4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que</a:t>
            </a:r>
            <a:r>
              <a:rPr kumimoji="0" sz="1600" b="0" i="0" u="none" strike="noStrike" kern="0" cap="none" spc="4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en</a:t>
            </a:r>
            <a:r>
              <a:rPr kumimoji="0" sz="1600" b="0" i="0" u="none" strike="noStrike" kern="0" cap="none" spc="5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Salesforce</a:t>
            </a:r>
            <a:r>
              <a:rPr kumimoji="0" sz="1600" b="0" i="0" u="none" strike="noStrike" kern="0" cap="none" spc="5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se</a:t>
            </a:r>
            <a:r>
              <a:rPr kumimoji="0" sz="1600" b="0" i="0" u="none" strike="noStrike" kern="0" cap="none" spc="5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representan</a:t>
            </a:r>
            <a:r>
              <a:rPr kumimoji="0" sz="1600" b="0" i="0" u="none" strike="noStrike" kern="0" cap="none" spc="4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a</a:t>
            </a:r>
            <a:r>
              <a:rPr kumimoji="0" sz="1600" b="0" i="0" u="none" strike="noStrike" kern="0" cap="none" spc="5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través</a:t>
            </a:r>
            <a:r>
              <a:rPr kumimoji="0" sz="1600" b="0" i="0" u="none" strike="noStrike" kern="0" cap="none" spc="5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de </a:t>
            </a:r>
            <a:r>
              <a:rPr kumimoji="0" sz="1600" b="0" i="0" u="none" strike="noStrike" kern="0" cap="none" spc="-43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diferentes</a:t>
            </a:r>
            <a:r>
              <a:rPr kumimoji="0" sz="1600" b="0" i="0" u="none" strike="noStrike" kern="0" cap="none" spc="2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sub-</a:t>
            </a:r>
            <a:r>
              <a:rPr kumimoji="0" sz="1600" b="0" i="0" u="none" strike="noStrike" kern="0" cap="none" spc="-5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estados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de</a:t>
            </a:r>
            <a:r>
              <a:rPr kumimoji="0" sz="1600" b="0" i="0" u="none" strike="noStrike" kern="0" cap="none" spc="1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la </a:t>
            </a:r>
            <a:r>
              <a:rPr kumimoji="0" sz="1600" b="0" i="0" u="none" strike="noStrike" kern="0" cap="none" spc="-5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oportunidad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00317" y="1823343"/>
            <a:ext cx="48260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1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E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tapas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: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77727" y="2165883"/>
            <a:ext cx="75057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Sub-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etapas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: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1005083" y="2126564"/>
            <a:ext cx="1608455" cy="366395"/>
            <a:chOff x="1004188" y="2249297"/>
            <a:chExt cx="1608455" cy="366395"/>
          </a:xfrm>
        </p:grpSpPr>
        <p:sp>
          <p:nvSpPr>
            <p:cNvPr id="8" name="object 8"/>
            <p:cNvSpPr/>
            <p:nvPr/>
          </p:nvSpPr>
          <p:spPr>
            <a:xfrm>
              <a:off x="1007363" y="2252472"/>
              <a:ext cx="1602105" cy="360045"/>
            </a:xfrm>
            <a:custGeom>
              <a:avLst/>
              <a:gdLst/>
              <a:ahLst/>
              <a:cxnLst/>
              <a:rect l="l" t="t" r="r" b="b"/>
              <a:pathLst>
                <a:path w="1602105" h="360044">
                  <a:moveTo>
                    <a:pt x="1421892" y="0"/>
                  </a:moveTo>
                  <a:lnTo>
                    <a:pt x="0" y="0"/>
                  </a:lnTo>
                  <a:lnTo>
                    <a:pt x="0" y="359663"/>
                  </a:lnTo>
                  <a:lnTo>
                    <a:pt x="1421892" y="359663"/>
                  </a:lnTo>
                  <a:lnTo>
                    <a:pt x="1601724" y="179831"/>
                  </a:lnTo>
                  <a:lnTo>
                    <a:pt x="1421892" y="0"/>
                  </a:lnTo>
                  <a:close/>
                </a:path>
              </a:pathLst>
            </a:custGeom>
            <a:solidFill>
              <a:srgbClr val="00B05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007363" y="2252472"/>
              <a:ext cx="1602105" cy="360045"/>
            </a:xfrm>
            <a:custGeom>
              <a:avLst/>
              <a:gdLst/>
              <a:ahLst/>
              <a:cxnLst/>
              <a:rect l="l" t="t" r="r" b="b"/>
              <a:pathLst>
                <a:path w="1602105" h="360044">
                  <a:moveTo>
                    <a:pt x="0" y="0"/>
                  </a:moveTo>
                  <a:lnTo>
                    <a:pt x="1421892" y="0"/>
                  </a:lnTo>
                  <a:lnTo>
                    <a:pt x="1601724" y="179831"/>
                  </a:lnTo>
                  <a:lnTo>
                    <a:pt x="1421892" y="359663"/>
                  </a:lnTo>
                  <a:lnTo>
                    <a:pt x="0" y="359663"/>
                  </a:lnTo>
                  <a:lnTo>
                    <a:pt x="0" y="0"/>
                  </a:lnTo>
                  <a:close/>
                </a:path>
              </a:pathLst>
            </a:custGeom>
            <a:ln w="609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1390839" y="2236988"/>
            <a:ext cx="69977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1.</a:t>
            </a:r>
            <a:r>
              <a:rPr kumimoji="0" sz="1000" b="1" i="0" u="none" strike="noStrike" kern="0" cap="none" spc="-6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Solicitud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2544845" y="2141551"/>
            <a:ext cx="1826260" cy="366395"/>
            <a:chOff x="2531236" y="2249297"/>
            <a:chExt cx="1826260" cy="366395"/>
          </a:xfrm>
        </p:grpSpPr>
        <p:sp>
          <p:nvSpPr>
            <p:cNvPr id="12" name="object 12"/>
            <p:cNvSpPr/>
            <p:nvPr/>
          </p:nvSpPr>
          <p:spPr>
            <a:xfrm>
              <a:off x="2534411" y="2252472"/>
              <a:ext cx="1819910" cy="360045"/>
            </a:xfrm>
            <a:custGeom>
              <a:avLst/>
              <a:gdLst/>
              <a:ahLst/>
              <a:cxnLst/>
              <a:rect l="l" t="t" r="r" b="b"/>
              <a:pathLst>
                <a:path w="1819910" h="360044">
                  <a:moveTo>
                    <a:pt x="1639824" y="0"/>
                  </a:moveTo>
                  <a:lnTo>
                    <a:pt x="0" y="0"/>
                  </a:lnTo>
                  <a:lnTo>
                    <a:pt x="179831" y="179831"/>
                  </a:lnTo>
                  <a:lnTo>
                    <a:pt x="0" y="359663"/>
                  </a:lnTo>
                  <a:lnTo>
                    <a:pt x="1639824" y="359663"/>
                  </a:lnTo>
                  <a:lnTo>
                    <a:pt x="1819655" y="179831"/>
                  </a:lnTo>
                  <a:lnTo>
                    <a:pt x="1639824" y="0"/>
                  </a:lnTo>
                  <a:close/>
                </a:path>
              </a:pathLst>
            </a:custGeom>
            <a:solidFill>
              <a:srgbClr val="00B05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2534411" y="2252472"/>
              <a:ext cx="1819910" cy="360045"/>
            </a:xfrm>
            <a:custGeom>
              <a:avLst/>
              <a:gdLst/>
              <a:ahLst/>
              <a:cxnLst/>
              <a:rect l="l" t="t" r="r" b="b"/>
              <a:pathLst>
                <a:path w="1819910" h="360044">
                  <a:moveTo>
                    <a:pt x="0" y="0"/>
                  </a:moveTo>
                  <a:lnTo>
                    <a:pt x="1639824" y="0"/>
                  </a:lnTo>
                  <a:lnTo>
                    <a:pt x="1819655" y="179831"/>
                  </a:lnTo>
                  <a:lnTo>
                    <a:pt x="1639824" y="359663"/>
                  </a:lnTo>
                  <a:lnTo>
                    <a:pt x="0" y="359663"/>
                  </a:lnTo>
                  <a:lnTo>
                    <a:pt x="179831" y="179831"/>
                  </a:lnTo>
                  <a:lnTo>
                    <a:pt x="0" y="0"/>
                  </a:lnTo>
                  <a:close/>
                </a:path>
              </a:pathLst>
            </a:custGeom>
            <a:ln w="609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3079127" y="2217367"/>
            <a:ext cx="81280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2.</a:t>
            </a:r>
            <a:r>
              <a:rPr kumimoji="0" sz="1000" b="1" i="0" u="none" strike="noStrike" kern="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Derivación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4298950" y="2135228"/>
            <a:ext cx="2280285" cy="366395"/>
            <a:chOff x="4267072" y="2249297"/>
            <a:chExt cx="2280285" cy="366395"/>
          </a:xfrm>
        </p:grpSpPr>
        <p:sp>
          <p:nvSpPr>
            <p:cNvPr id="16" name="object 16"/>
            <p:cNvSpPr/>
            <p:nvPr/>
          </p:nvSpPr>
          <p:spPr>
            <a:xfrm>
              <a:off x="4270247" y="2252472"/>
              <a:ext cx="2273935" cy="360045"/>
            </a:xfrm>
            <a:custGeom>
              <a:avLst/>
              <a:gdLst/>
              <a:ahLst/>
              <a:cxnLst/>
              <a:rect l="l" t="t" r="r" b="b"/>
              <a:pathLst>
                <a:path w="2273934" h="360044">
                  <a:moveTo>
                    <a:pt x="2093976" y="0"/>
                  </a:moveTo>
                  <a:lnTo>
                    <a:pt x="0" y="0"/>
                  </a:lnTo>
                  <a:lnTo>
                    <a:pt x="179831" y="179831"/>
                  </a:lnTo>
                  <a:lnTo>
                    <a:pt x="0" y="359663"/>
                  </a:lnTo>
                  <a:lnTo>
                    <a:pt x="2093976" y="359663"/>
                  </a:lnTo>
                  <a:lnTo>
                    <a:pt x="2273807" y="179831"/>
                  </a:lnTo>
                  <a:lnTo>
                    <a:pt x="2093976" y="0"/>
                  </a:lnTo>
                  <a:close/>
                </a:path>
              </a:pathLst>
            </a:custGeom>
            <a:solidFill>
              <a:srgbClr val="00B05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4270247" y="2252472"/>
              <a:ext cx="2273935" cy="360045"/>
            </a:xfrm>
            <a:custGeom>
              <a:avLst/>
              <a:gdLst/>
              <a:ahLst/>
              <a:cxnLst/>
              <a:rect l="l" t="t" r="r" b="b"/>
              <a:pathLst>
                <a:path w="2273934" h="360044">
                  <a:moveTo>
                    <a:pt x="0" y="0"/>
                  </a:moveTo>
                  <a:lnTo>
                    <a:pt x="2093976" y="0"/>
                  </a:lnTo>
                  <a:lnTo>
                    <a:pt x="2273807" y="179831"/>
                  </a:lnTo>
                  <a:lnTo>
                    <a:pt x="2093976" y="359663"/>
                  </a:lnTo>
                  <a:lnTo>
                    <a:pt x="0" y="359663"/>
                  </a:lnTo>
                  <a:lnTo>
                    <a:pt x="179831" y="179831"/>
                  </a:lnTo>
                  <a:lnTo>
                    <a:pt x="0" y="0"/>
                  </a:lnTo>
                  <a:close/>
                </a:path>
              </a:pathLst>
            </a:custGeom>
            <a:ln w="609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4861630" y="2225675"/>
            <a:ext cx="9817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3.</a:t>
            </a:r>
            <a:r>
              <a:rPr kumimoji="0" sz="1000" b="1" i="0" u="none" strike="noStrike" kern="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onfirmación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6511038" y="2161382"/>
            <a:ext cx="1826260" cy="366395"/>
            <a:chOff x="6446392" y="2249297"/>
            <a:chExt cx="1826260" cy="366395"/>
          </a:xfrm>
        </p:grpSpPr>
        <p:sp>
          <p:nvSpPr>
            <p:cNvPr id="20" name="object 20"/>
            <p:cNvSpPr/>
            <p:nvPr/>
          </p:nvSpPr>
          <p:spPr>
            <a:xfrm>
              <a:off x="6449567" y="2252472"/>
              <a:ext cx="1819910" cy="360045"/>
            </a:xfrm>
            <a:custGeom>
              <a:avLst/>
              <a:gdLst/>
              <a:ahLst/>
              <a:cxnLst/>
              <a:rect l="l" t="t" r="r" b="b"/>
              <a:pathLst>
                <a:path w="1819909" h="360044">
                  <a:moveTo>
                    <a:pt x="1639824" y="0"/>
                  </a:moveTo>
                  <a:lnTo>
                    <a:pt x="0" y="0"/>
                  </a:lnTo>
                  <a:lnTo>
                    <a:pt x="179832" y="179831"/>
                  </a:lnTo>
                  <a:lnTo>
                    <a:pt x="0" y="359663"/>
                  </a:lnTo>
                  <a:lnTo>
                    <a:pt x="1639824" y="359663"/>
                  </a:lnTo>
                  <a:lnTo>
                    <a:pt x="1819656" y="179831"/>
                  </a:lnTo>
                  <a:lnTo>
                    <a:pt x="1639824" y="0"/>
                  </a:lnTo>
                  <a:close/>
                </a:path>
              </a:pathLst>
            </a:custGeom>
            <a:solidFill>
              <a:srgbClr val="00B05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6449567" y="2252472"/>
              <a:ext cx="1819910" cy="360045"/>
            </a:xfrm>
            <a:custGeom>
              <a:avLst/>
              <a:gdLst/>
              <a:ahLst/>
              <a:cxnLst/>
              <a:rect l="l" t="t" r="r" b="b"/>
              <a:pathLst>
                <a:path w="1819909" h="360044">
                  <a:moveTo>
                    <a:pt x="0" y="0"/>
                  </a:moveTo>
                  <a:lnTo>
                    <a:pt x="1639824" y="0"/>
                  </a:lnTo>
                  <a:lnTo>
                    <a:pt x="1819656" y="179831"/>
                  </a:lnTo>
                  <a:lnTo>
                    <a:pt x="1639824" y="359663"/>
                  </a:lnTo>
                  <a:lnTo>
                    <a:pt x="0" y="359663"/>
                  </a:lnTo>
                  <a:lnTo>
                    <a:pt x="179832" y="179831"/>
                  </a:lnTo>
                  <a:lnTo>
                    <a:pt x="0" y="0"/>
                  </a:lnTo>
                  <a:close/>
                </a:path>
              </a:pathLst>
            </a:custGeom>
            <a:ln w="609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6957760" y="2225675"/>
            <a:ext cx="925194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4.</a:t>
            </a:r>
            <a:r>
              <a:rPr kumimoji="0" sz="1000" b="1" i="0" u="none" strike="noStrike" kern="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Focalización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8267822" y="2167732"/>
            <a:ext cx="1826260" cy="366395"/>
            <a:chOff x="8259953" y="2249297"/>
            <a:chExt cx="1826260" cy="366395"/>
          </a:xfrm>
        </p:grpSpPr>
        <p:sp>
          <p:nvSpPr>
            <p:cNvPr id="24" name="object 24"/>
            <p:cNvSpPr/>
            <p:nvPr/>
          </p:nvSpPr>
          <p:spPr>
            <a:xfrm>
              <a:off x="8263128" y="2252472"/>
              <a:ext cx="1819910" cy="360045"/>
            </a:xfrm>
            <a:custGeom>
              <a:avLst/>
              <a:gdLst/>
              <a:ahLst/>
              <a:cxnLst/>
              <a:rect l="l" t="t" r="r" b="b"/>
              <a:pathLst>
                <a:path w="1819909" h="360044">
                  <a:moveTo>
                    <a:pt x="1639824" y="0"/>
                  </a:moveTo>
                  <a:lnTo>
                    <a:pt x="0" y="0"/>
                  </a:lnTo>
                  <a:lnTo>
                    <a:pt x="179831" y="179831"/>
                  </a:lnTo>
                  <a:lnTo>
                    <a:pt x="0" y="359663"/>
                  </a:lnTo>
                  <a:lnTo>
                    <a:pt x="1639824" y="359663"/>
                  </a:lnTo>
                  <a:lnTo>
                    <a:pt x="1819655" y="179831"/>
                  </a:lnTo>
                  <a:lnTo>
                    <a:pt x="1639824" y="0"/>
                  </a:lnTo>
                  <a:close/>
                </a:path>
              </a:pathLst>
            </a:custGeom>
            <a:solidFill>
              <a:srgbClr val="00B05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8263128" y="2252472"/>
              <a:ext cx="1819910" cy="360045"/>
            </a:xfrm>
            <a:custGeom>
              <a:avLst/>
              <a:gdLst/>
              <a:ahLst/>
              <a:cxnLst/>
              <a:rect l="l" t="t" r="r" b="b"/>
              <a:pathLst>
                <a:path w="1819909" h="360044">
                  <a:moveTo>
                    <a:pt x="0" y="0"/>
                  </a:moveTo>
                  <a:lnTo>
                    <a:pt x="1639824" y="0"/>
                  </a:lnTo>
                  <a:lnTo>
                    <a:pt x="1819655" y="179831"/>
                  </a:lnTo>
                  <a:lnTo>
                    <a:pt x="1639824" y="359663"/>
                  </a:lnTo>
                  <a:lnTo>
                    <a:pt x="0" y="359663"/>
                  </a:lnTo>
                  <a:lnTo>
                    <a:pt x="179831" y="179831"/>
                  </a:lnTo>
                  <a:lnTo>
                    <a:pt x="0" y="0"/>
                  </a:lnTo>
                  <a:close/>
                </a:path>
              </a:pathLst>
            </a:custGeom>
            <a:ln w="609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8799634" y="2235848"/>
            <a:ext cx="7626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5.</a:t>
            </a:r>
            <a:r>
              <a:rPr kumimoji="0" sz="1000" b="1" i="0" u="none" strike="noStrike" kern="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Ejecución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grpSp>
        <p:nvGrpSpPr>
          <p:cNvPr id="27" name="object 27"/>
          <p:cNvGrpSpPr/>
          <p:nvPr/>
        </p:nvGrpSpPr>
        <p:grpSpPr>
          <a:xfrm>
            <a:off x="10074084" y="2152411"/>
            <a:ext cx="1826260" cy="365760"/>
            <a:chOff x="10073640" y="2249423"/>
            <a:chExt cx="1826260" cy="365760"/>
          </a:xfrm>
        </p:grpSpPr>
        <p:sp>
          <p:nvSpPr>
            <p:cNvPr id="28" name="object 28"/>
            <p:cNvSpPr/>
            <p:nvPr/>
          </p:nvSpPr>
          <p:spPr>
            <a:xfrm>
              <a:off x="10076688" y="2252471"/>
              <a:ext cx="1819910" cy="360045"/>
            </a:xfrm>
            <a:custGeom>
              <a:avLst/>
              <a:gdLst/>
              <a:ahLst/>
              <a:cxnLst/>
              <a:rect l="l" t="t" r="r" b="b"/>
              <a:pathLst>
                <a:path w="1819909" h="360044">
                  <a:moveTo>
                    <a:pt x="1639823" y="0"/>
                  </a:moveTo>
                  <a:lnTo>
                    <a:pt x="0" y="0"/>
                  </a:lnTo>
                  <a:lnTo>
                    <a:pt x="179831" y="179831"/>
                  </a:lnTo>
                  <a:lnTo>
                    <a:pt x="0" y="359663"/>
                  </a:lnTo>
                  <a:lnTo>
                    <a:pt x="1639823" y="359663"/>
                  </a:lnTo>
                  <a:lnTo>
                    <a:pt x="1819655" y="179831"/>
                  </a:lnTo>
                  <a:lnTo>
                    <a:pt x="1639823" y="0"/>
                  </a:lnTo>
                  <a:close/>
                </a:path>
              </a:pathLst>
            </a:custGeom>
            <a:solidFill>
              <a:srgbClr val="00B05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10076688" y="2252471"/>
              <a:ext cx="1819910" cy="360045"/>
            </a:xfrm>
            <a:custGeom>
              <a:avLst/>
              <a:gdLst/>
              <a:ahLst/>
              <a:cxnLst/>
              <a:rect l="l" t="t" r="r" b="b"/>
              <a:pathLst>
                <a:path w="1819909" h="360044">
                  <a:moveTo>
                    <a:pt x="0" y="0"/>
                  </a:moveTo>
                  <a:lnTo>
                    <a:pt x="1639823" y="0"/>
                  </a:lnTo>
                  <a:lnTo>
                    <a:pt x="1819655" y="179831"/>
                  </a:lnTo>
                  <a:lnTo>
                    <a:pt x="1639823" y="359663"/>
                  </a:lnTo>
                  <a:lnTo>
                    <a:pt x="0" y="359663"/>
                  </a:lnTo>
                  <a:lnTo>
                    <a:pt x="179831" y="179831"/>
                  </a:lnTo>
                  <a:lnTo>
                    <a:pt x="0" y="0"/>
                  </a:lnTo>
                  <a:close/>
                </a:path>
              </a:pathLst>
            </a:custGeom>
            <a:ln w="609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</p:grpSp>
      <p:sp>
        <p:nvSpPr>
          <p:cNvPr id="30" name="object 30"/>
          <p:cNvSpPr txBox="1"/>
          <p:nvPr/>
        </p:nvSpPr>
        <p:spPr>
          <a:xfrm>
            <a:off x="10693593" y="2233572"/>
            <a:ext cx="53022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6. Cie</a:t>
            </a:r>
            <a:r>
              <a:rPr kumimoji="0" sz="1000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rr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e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1015365" y="1832824"/>
            <a:ext cx="1533525" cy="209550"/>
            <a:chOff x="1004188" y="1958213"/>
            <a:chExt cx="1533525" cy="209550"/>
          </a:xfrm>
        </p:grpSpPr>
        <p:sp>
          <p:nvSpPr>
            <p:cNvPr id="32" name="object 32"/>
            <p:cNvSpPr/>
            <p:nvPr/>
          </p:nvSpPr>
          <p:spPr>
            <a:xfrm>
              <a:off x="1007363" y="1961388"/>
              <a:ext cx="1527175" cy="203200"/>
            </a:xfrm>
            <a:custGeom>
              <a:avLst/>
              <a:gdLst/>
              <a:ahLst/>
              <a:cxnLst/>
              <a:rect l="l" t="t" r="r" b="b"/>
              <a:pathLst>
                <a:path w="1527175" h="203200">
                  <a:moveTo>
                    <a:pt x="1425702" y="0"/>
                  </a:moveTo>
                  <a:lnTo>
                    <a:pt x="0" y="0"/>
                  </a:lnTo>
                  <a:lnTo>
                    <a:pt x="0" y="202691"/>
                  </a:lnTo>
                  <a:lnTo>
                    <a:pt x="1425702" y="202691"/>
                  </a:lnTo>
                  <a:lnTo>
                    <a:pt x="1527048" y="101346"/>
                  </a:lnTo>
                  <a:lnTo>
                    <a:pt x="1425702" y="0"/>
                  </a:lnTo>
                  <a:close/>
                </a:path>
              </a:pathLst>
            </a:custGeom>
            <a:solidFill>
              <a:srgbClr val="00B05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1007363" y="1961388"/>
              <a:ext cx="1527175" cy="203200"/>
            </a:xfrm>
            <a:custGeom>
              <a:avLst/>
              <a:gdLst/>
              <a:ahLst/>
              <a:cxnLst/>
              <a:rect l="l" t="t" r="r" b="b"/>
              <a:pathLst>
                <a:path w="1527175" h="203200">
                  <a:moveTo>
                    <a:pt x="0" y="0"/>
                  </a:moveTo>
                  <a:lnTo>
                    <a:pt x="1425702" y="0"/>
                  </a:lnTo>
                  <a:lnTo>
                    <a:pt x="1527048" y="101346"/>
                  </a:lnTo>
                  <a:lnTo>
                    <a:pt x="1425702" y="202691"/>
                  </a:lnTo>
                  <a:lnTo>
                    <a:pt x="0" y="202691"/>
                  </a:lnTo>
                  <a:lnTo>
                    <a:pt x="0" y="0"/>
                  </a:lnTo>
                  <a:close/>
                </a:path>
              </a:pathLst>
            </a:custGeom>
            <a:ln w="609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</p:grpSp>
      <p:sp>
        <p:nvSpPr>
          <p:cNvPr id="34" name="object 34"/>
          <p:cNvSpPr txBox="1"/>
          <p:nvPr/>
        </p:nvSpPr>
        <p:spPr>
          <a:xfrm>
            <a:off x="1562606" y="1849135"/>
            <a:ext cx="3562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Inicio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grpSp>
        <p:nvGrpSpPr>
          <p:cNvPr id="35" name="object 35"/>
          <p:cNvGrpSpPr/>
          <p:nvPr/>
        </p:nvGrpSpPr>
        <p:grpSpPr>
          <a:xfrm>
            <a:off x="2562222" y="1850351"/>
            <a:ext cx="5735320" cy="209550"/>
            <a:chOff x="2531236" y="1958213"/>
            <a:chExt cx="5735320" cy="209550"/>
          </a:xfrm>
        </p:grpSpPr>
        <p:sp>
          <p:nvSpPr>
            <p:cNvPr id="36" name="object 36"/>
            <p:cNvSpPr/>
            <p:nvPr/>
          </p:nvSpPr>
          <p:spPr>
            <a:xfrm>
              <a:off x="2534411" y="1961388"/>
              <a:ext cx="5728970" cy="203200"/>
            </a:xfrm>
            <a:custGeom>
              <a:avLst/>
              <a:gdLst/>
              <a:ahLst/>
              <a:cxnLst/>
              <a:rect l="l" t="t" r="r" b="b"/>
              <a:pathLst>
                <a:path w="5728970" h="203200">
                  <a:moveTo>
                    <a:pt x="5627370" y="0"/>
                  </a:moveTo>
                  <a:lnTo>
                    <a:pt x="0" y="0"/>
                  </a:lnTo>
                  <a:lnTo>
                    <a:pt x="101345" y="101346"/>
                  </a:lnTo>
                  <a:lnTo>
                    <a:pt x="0" y="202691"/>
                  </a:lnTo>
                  <a:lnTo>
                    <a:pt x="5627370" y="202691"/>
                  </a:lnTo>
                  <a:lnTo>
                    <a:pt x="5728716" y="101346"/>
                  </a:lnTo>
                  <a:lnTo>
                    <a:pt x="5627370" y="0"/>
                  </a:lnTo>
                  <a:close/>
                </a:path>
              </a:pathLst>
            </a:custGeom>
            <a:solidFill>
              <a:srgbClr val="00B05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2534411" y="1961388"/>
              <a:ext cx="5728970" cy="203200"/>
            </a:xfrm>
            <a:custGeom>
              <a:avLst/>
              <a:gdLst/>
              <a:ahLst/>
              <a:cxnLst/>
              <a:rect l="l" t="t" r="r" b="b"/>
              <a:pathLst>
                <a:path w="5728970" h="203200">
                  <a:moveTo>
                    <a:pt x="0" y="0"/>
                  </a:moveTo>
                  <a:lnTo>
                    <a:pt x="5627370" y="0"/>
                  </a:lnTo>
                  <a:lnTo>
                    <a:pt x="5728716" y="101346"/>
                  </a:lnTo>
                  <a:lnTo>
                    <a:pt x="5627370" y="202691"/>
                  </a:lnTo>
                  <a:lnTo>
                    <a:pt x="0" y="202691"/>
                  </a:lnTo>
                  <a:lnTo>
                    <a:pt x="101345" y="101346"/>
                  </a:lnTo>
                  <a:lnTo>
                    <a:pt x="0" y="0"/>
                  </a:lnTo>
                  <a:close/>
                </a:path>
              </a:pathLst>
            </a:custGeom>
            <a:ln w="609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</p:grpSp>
      <p:sp>
        <p:nvSpPr>
          <p:cNvPr id="38" name="object 38"/>
          <p:cNvSpPr txBox="1"/>
          <p:nvPr/>
        </p:nvSpPr>
        <p:spPr>
          <a:xfrm>
            <a:off x="4996814" y="1856651"/>
            <a:ext cx="88455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Gestión</a:t>
            </a:r>
            <a:r>
              <a:rPr kumimoji="0" sz="1000" b="1" i="0" u="none" strike="noStrike" kern="0" cap="none" spc="-6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OTEC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grpSp>
        <p:nvGrpSpPr>
          <p:cNvPr id="39" name="object 39"/>
          <p:cNvGrpSpPr/>
          <p:nvPr/>
        </p:nvGrpSpPr>
        <p:grpSpPr>
          <a:xfrm>
            <a:off x="8269959" y="1840318"/>
            <a:ext cx="3636645" cy="222885"/>
            <a:chOff x="8263128" y="1944623"/>
            <a:chExt cx="3636645" cy="222885"/>
          </a:xfrm>
        </p:grpSpPr>
        <p:sp>
          <p:nvSpPr>
            <p:cNvPr id="40" name="object 40"/>
            <p:cNvSpPr/>
            <p:nvPr/>
          </p:nvSpPr>
          <p:spPr>
            <a:xfrm>
              <a:off x="8266176" y="1947671"/>
              <a:ext cx="3630295" cy="216535"/>
            </a:xfrm>
            <a:custGeom>
              <a:avLst/>
              <a:gdLst/>
              <a:ahLst/>
              <a:cxnLst/>
              <a:rect l="l" t="t" r="r" b="b"/>
              <a:pathLst>
                <a:path w="3630295" h="216535">
                  <a:moveTo>
                    <a:pt x="3521964" y="0"/>
                  </a:moveTo>
                  <a:lnTo>
                    <a:pt x="0" y="0"/>
                  </a:lnTo>
                  <a:lnTo>
                    <a:pt x="108203" y="108203"/>
                  </a:lnTo>
                  <a:lnTo>
                    <a:pt x="0" y="216407"/>
                  </a:lnTo>
                  <a:lnTo>
                    <a:pt x="3521964" y="216407"/>
                  </a:lnTo>
                  <a:lnTo>
                    <a:pt x="3630168" y="108203"/>
                  </a:lnTo>
                  <a:lnTo>
                    <a:pt x="3521964" y="0"/>
                  </a:lnTo>
                  <a:close/>
                </a:path>
              </a:pathLst>
            </a:custGeom>
            <a:solidFill>
              <a:srgbClr val="00B05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8266176" y="1947671"/>
              <a:ext cx="3630295" cy="216535"/>
            </a:xfrm>
            <a:custGeom>
              <a:avLst/>
              <a:gdLst/>
              <a:ahLst/>
              <a:cxnLst/>
              <a:rect l="l" t="t" r="r" b="b"/>
              <a:pathLst>
                <a:path w="3630295" h="216535">
                  <a:moveTo>
                    <a:pt x="0" y="0"/>
                  </a:moveTo>
                  <a:lnTo>
                    <a:pt x="3521964" y="0"/>
                  </a:lnTo>
                  <a:lnTo>
                    <a:pt x="3630168" y="108203"/>
                  </a:lnTo>
                  <a:lnTo>
                    <a:pt x="3521964" y="216407"/>
                  </a:lnTo>
                  <a:lnTo>
                    <a:pt x="0" y="216407"/>
                  </a:lnTo>
                  <a:lnTo>
                    <a:pt x="108203" y="108203"/>
                  </a:lnTo>
                  <a:lnTo>
                    <a:pt x="0" y="0"/>
                  </a:lnTo>
                  <a:close/>
                </a:path>
              </a:pathLst>
            </a:custGeom>
            <a:ln w="609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</p:grpSp>
      <p:sp>
        <p:nvSpPr>
          <p:cNvPr id="42" name="object 42"/>
          <p:cNvSpPr txBox="1"/>
          <p:nvPr/>
        </p:nvSpPr>
        <p:spPr>
          <a:xfrm>
            <a:off x="9777004" y="1871501"/>
            <a:ext cx="62230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1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E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je</a:t>
            </a:r>
            <a:r>
              <a:rPr kumimoji="0" sz="1000" b="1" i="0" u="none" strike="noStrike" kern="0" cap="none" spc="-1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ución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161037" y="4138142"/>
            <a:ext cx="879475" cy="513602"/>
          </a:xfrm>
          <a:prstGeom prst="rect">
            <a:avLst/>
          </a:prstGeom>
          <a:solidFill>
            <a:schemeClr val="tx2"/>
          </a:solidFill>
          <a:ln w="9143">
            <a:solidFill>
              <a:srgbClr val="000000"/>
            </a:solidFill>
          </a:ln>
        </p:spPr>
        <p:txBody>
          <a:bodyPr vert="horz" wrap="square" lIns="0" tIns="5715" rIns="0" bIns="0" rtlCol="0" anchor="ctr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ea typeface="+mn-ea"/>
              <a:cs typeface="Times New Roman"/>
              <a:sym typeface="Helvetica Neue"/>
            </a:endParaRPr>
          </a:p>
          <a:p>
            <a:pPr marL="0" marR="0" lvl="0" indent="0" algn="ctr" defTabSz="1219169" rtl="0" eaLnBrk="1" fontAlgn="auto" latinLnBrk="0" hangingPunct="0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spc="-5">
                <a:latin typeface="Arial MT"/>
                <a:cs typeface="Arial MT"/>
              </a:rPr>
              <a:t>Nuevo</a:t>
            </a:r>
          </a:p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ea typeface="+mn-ea"/>
              <a:cs typeface="Times New Roman"/>
              <a:sym typeface="Helvetica Neue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2283106" y="3643596"/>
            <a:ext cx="792663" cy="1183657"/>
          </a:xfrm>
          <a:prstGeom prst="rect">
            <a:avLst/>
          </a:prstGeom>
          <a:solidFill>
            <a:schemeClr val="tx2"/>
          </a:solidFill>
          <a:ln w="9144">
            <a:solidFill>
              <a:srgbClr val="000000"/>
            </a:solidFill>
          </a:ln>
        </p:spPr>
        <p:txBody>
          <a:bodyPr vert="horz" wrap="square" lIns="0" tIns="74930" rIns="0" bIns="0" rtlCol="0" anchor="t">
            <a:spAutoFit/>
          </a:bodyPr>
          <a:lstStyle/>
          <a:p>
            <a:pPr marL="635" marR="0" lvl="0" indent="0" algn="ctr" defTabSz="1219169" rtl="0" eaLnBrk="1" fontAlgn="auto" latinLnBrk="0" hangingPunct="0">
              <a:lnSpc>
                <a:spcPct val="100000"/>
              </a:lnSpc>
              <a:spcBef>
                <a:spcPts val="5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"/>
                <a:sym typeface="Helvetica Neue"/>
              </a:rPr>
              <a:t>Asignado</a:t>
            </a:r>
            <a:r>
              <a:rPr kumimoji="0" sz="1000" b="1" i="0" u="none" strike="noStrike" kern="0" cap="none" spc="-6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"/>
                <a:sym typeface="Helvetica Neue"/>
              </a:rPr>
              <a:t>a</a:t>
            </a:r>
            <a:r>
              <a:rPr kumimoji="0" lang="es-ES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"/>
                <a:sym typeface="Helvetica Neue"/>
              </a:rPr>
              <a:t> OTEC</a:t>
            </a:r>
            <a:endParaRPr kumimoji="0" lang="en-US" sz="1000" b="1" i="0" u="none" strike="noStrike" kern="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"/>
              <a:sym typeface="Helvetica Neue"/>
            </a:endParaRPr>
          </a:p>
          <a:p>
            <a:pPr marL="635" marR="0" lvl="0" indent="0" algn="ctr" defTabSz="1219169" rtl="0" eaLnBrk="1" fontAlgn="auto" latinLnBrk="0" hangingPunct="0">
              <a:lnSpc>
                <a:spcPct val="100000"/>
              </a:lnSpc>
              <a:spcBef>
                <a:spcPts val="5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  <a:p>
            <a:pPr marL="635" marR="0" lvl="0" indent="0" algn="ctr" defTabSz="1219169" rtl="0" eaLnBrk="1" fontAlgn="auto" latinLnBrk="0" hangingPunct="0">
              <a:lnSpc>
                <a:spcPct val="100000"/>
              </a:lnSpc>
              <a:spcBef>
                <a:spcPts val="5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"/>
                <a:sym typeface="Helvetica Neue"/>
              </a:rPr>
              <a:t>(Plazo para asignar 1 día</a:t>
            </a:r>
            <a:r>
              <a:rPr kumimoji="0" lang="es-E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)</a:t>
            </a: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4215857" y="4048853"/>
            <a:ext cx="1348797" cy="675826"/>
          </a:xfrm>
          <a:prstGeom prst="rect">
            <a:avLst/>
          </a:prstGeom>
          <a:solidFill>
            <a:schemeClr val="tx2"/>
          </a:solidFill>
          <a:ln w="9144">
            <a:solidFill>
              <a:srgbClr val="000000"/>
            </a:solidFill>
          </a:ln>
        </p:spPr>
        <p:txBody>
          <a:bodyPr vert="horz" wrap="square" lIns="0" tIns="74930" rIns="0" bIns="0" rtlCol="0" anchor="t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100000"/>
              </a:lnSpc>
              <a:spcBef>
                <a:spcPts val="5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Asignado</a:t>
            </a:r>
            <a:r>
              <a:rPr kumimoji="0" sz="1000" b="1" i="0" u="none" strike="noStrike" kern="0" cap="none" spc="-6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lang="en-US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a relator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  <a:p>
            <a:pPr marL="0" marR="0" lvl="0" indent="0" algn="ctr" defTabSz="1219169" rtl="0" eaLnBrk="1" fontAlgn="auto" latinLnBrk="0" hangingPunct="0">
              <a:lnSpc>
                <a:spcPct val="100000"/>
              </a:lnSpc>
              <a:spcBef>
                <a:spcPts val="5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(plazo para asignar relator 1 </a:t>
            </a:r>
            <a:r>
              <a:rPr kumimoji="0" lang="es-MX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díay</a:t>
            </a:r>
            <a:r>
              <a:rPr kumimoji="0" lang="es-MX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1 día para confirmar curso</a:t>
            </a:r>
          </a:p>
        </p:txBody>
      </p:sp>
      <p:sp>
        <p:nvSpPr>
          <p:cNvPr id="47" name="object 47"/>
          <p:cNvSpPr txBox="1"/>
          <p:nvPr/>
        </p:nvSpPr>
        <p:spPr>
          <a:xfrm>
            <a:off x="4210008" y="4986775"/>
            <a:ext cx="1448451" cy="551433"/>
          </a:xfrm>
          <a:prstGeom prst="rect">
            <a:avLst/>
          </a:prstGeom>
          <a:solidFill>
            <a:schemeClr val="tx2"/>
          </a:solidFill>
          <a:ln w="9144">
            <a:solidFill>
              <a:srgbClr val="000000"/>
            </a:solidFill>
          </a:ln>
        </p:spPr>
        <p:txBody>
          <a:bodyPr vert="horz" wrap="square" lIns="0" tIns="73660" rIns="0" bIns="0" rtlCol="0" anchor="t">
            <a:spAutoFit/>
          </a:bodyPr>
          <a:lstStyle/>
          <a:p>
            <a:pPr marL="177800" marR="59690" lvl="0" indent="-111760" algn="l" defTabSz="1219169" rtl="0" eaLnBrk="1" fontAlgn="auto" latinLnBrk="0" hangingPunct="0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Gastos</a:t>
            </a:r>
            <a:r>
              <a:rPr kumimoji="0" sz="1000" b="1" i="0" u="none" strike="noStrike" kern="0" cap="none" spc="-8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por </a:t>
            </a:r>
            <a:r>
              <a:rPr kumimoji="0" sz="1000" b="1" i="0" u="none" strike="noStrike" kern="0" cap="none" spc="-3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aprobar</a:t>
            </a:r>
            <a:endParaRPr kumimoji="0" lang="es-ES" sz="1000" b="1" i="0" u="none" strike="noStrike" kern="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  <a:p>
            <a:pPr marL="177800" marR="59690" lvl="0" indent="-111760" algn="l" defTabSz="1219169" rtl="0" eaLnBrk="1" fontAlgn="auto" latinLnBrk="0" hangingPunct="0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  (plazo 1 día para rechazar o aprobar gastos)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8518754" y="4780743"/>
            <a:ext cx="938896" cy="333425"/>
          </a:xfrm>
          <a:prstGeom prst="rect">
            <a:avLst/>
          </a:prstGeom>
          <a:solidFill>
            <a:schemeClr val="tx2"/>
          </a:solidFill>
          <a:ln w="9144">
            <a:solidFill>
              <a:srgbClr val="000000"/>
            </a:solidFill>
          </a:ln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ts val="1305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*</a:t>
            </a:r>
            <a:r>
              <a:rPr kumimoji="0" lang="en-US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Cancelado</a:t>
            </a:r>
            <a:br>
              <a:rPr kumimoji="0" lang="en-US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</a:br>
            <a:r>
              <a:rPr kumimoji="0" lang="en-US" sz="1000" b="1" i="0" u="none" strike="noStrike" kern="0" cap="none" spc="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f</a:t>
            </a:r>
            <a:r>
              <a:rPr kumimoji="0" lang="en-US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uera</a:t>
            </a:r>
            <a:r>
              <a:rPr kumimoji="0" sz="1000" b="1" i="0" u="none" strike="noStrike" kern="0" cap="none" spc="-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de  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plazo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11127138" y="4077742"/>
            <a:ext cx="881380" cy="382156"/>
          </a:xfrm>
          <a:prstGeom prst="rect">
            <a:avLst/>
          </a:prstGeom>
          <a:solidFill>
            <a:schemeClr val="tx2"/>
          </a:solidFill>
          <a:ln w="9144">
            <a:solidFill>
              <a:srgbClr val="000000"/>
            </a:solidFill>
          </a:ln>
        </p:spPr>
        <p:txBody>
          <a:bodyPr vert="horz" wrap="square" lIns="0" tIns="73660" rIns="0" bIns="0" rtlCol="0">
            <a:spAutoFit/>
          </a:bodyPr>
          <a:lstStyle/>
          <a:p>
            <a:pPr marL="121920" marR="114300" lvl="0" indent="20955" algn="l" defTabSz="1219169" rtl="0" eaLnBrk="1" fontAlgn="auto" latinLnBrk="0" hangingPunct="0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*Entrega </a:t>
            </a:r>
            <a:r>
              <a:rPr kumimoji="0" sz="1000" b="1" i="0" u="none" strike="noStrike" kern="0" cap="none" spc="-3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D</a:t>
            </a:r>
            <a:r>
              <a:rPr kumimoji="0" sz="1000" b="1" i="0" u="none" strike="noStrike" kern="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i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plo</a:t>
            </a: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m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a</a:t>
            </a: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s</a:t>
            </a:r>
          </a:p>
        </p:txBody>
      </p:sp>
      <p:sp>
        <p:nvSpPr>
          <p:cNvPr id="51" name="object 51"/>
          <p:cNvSpPr txBox="1"/>
          <p:nvPr/>
        </p:nvSpPr>
        <p:spPr>
          <a:xfrm>
            <a:off x="9908894" y="3977391"/>
            <a:ext cx="881380" cy="1013739"/>
          </a:xfrm>
          <a:prstGeom prst="rect">
            <a:avLst/>
          </a:prstGeom>
          <a:solidFill>
            <a:schemeClr val="tx2"/>
          </a:solidFill>
          <a:ln w="9144">
            <a:solidFill>
              <a:srgbClr val="000000"/>
            </a:solidFill>
          </a:ln>
        </p:spPr>
        <p:txBody>
          <a:bodyPr vert="horz" wrap="square" lIns="0" tIns="74295" rIns="0" bIns="0" rtlCol="0">
            <a:spAutoFit/>
          </a:bodyPr>
          <a:lstStyle/>
          <a:p>
            <a:pPr marL="194310" marR="185420" lvl="0" indent="38100" algn="l" defTabSz="1219169" rtl="0" eaLnBrk="1" fontAlgn="auto" latinLnBrk="0" hangingPunct="0">
              <a:lnSpc>
                <a:spcPct val="100000"/>
              </a:lnSpc>
              <a:spcBef>
                <a:spcPts val="5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Cierre </a:t>
            </a:r>
            <a:r>
              <a:rPr kumimoji="0" sz="1000" b="1" i="0" u="none" strike="noStrike" kern="0" cap="none" spc="-3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Rela</a:t>
            </a: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t</a:t>
            </a:r>
            <a:r>
              <a:rPr kumimoji="0" sz="1000" b="1" i="0" u="none" strike="noStrike" kern="0" cap="none" spc="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o</a:t>
            </a: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r</a:t>
            </a:r>
            <a:endParaRPr kumimoji="0" lang="es-E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  <a:p>
            <a:pPr marL="194310" marR="185420" lvl="0" indent="38100" algn="l" defTabSz="1219169" rtl="0" eaLnBrk="1" fontAlgn="auto" latinLnBrk="0" hangingPunct="0">
              <a:lnSpc>
                <a:spcPct val="100000"/>
              </a:lnSpc>
              <a:spcBef>
                <a:spcPts val="5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(plazo 2 días post curso en ejecución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)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8502878" y="4125865"/>
            <a:ext cx="981048" cy="382797"/>
          </a:xfrm>
          <a:prstGeom prst="rect">
            <a:avLst/>
          </a:prstGeom>
          <a:solidFill>
            <a:schemeClr val="tx2"/>
          </a:solidFill>
          <a:ln w="9144">
            <a:solidFill>
              <a:srgbClr val="000000"/>
            </a:solidFill>
          </a:ln>
        </p:spPr>
        <p:txBody>
          <a:bodyPr vert="horz" wrap="square" lIns="0" tIns="74295" rIns="0" bIns="0" rtlCol="0">
            <a:spAutoFit/>
          </a:bodyPr>
          <a:lstStyle/>
          <a:p>
            <a:pPr marL="118745" marR="109220" lvl="0" indent="12065" algn="ctr" defTabSz="1219169" rtl="0" eaLnBrk="1" fontAlgn="auto" latinLnBrk="0" hangingPunct="0">
              <a:lnSpc>
                <a:spcPct val="100000"/>
              </a:lnSpc>
              <a:spcBef>
                <a:spcPts val="5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Curso en </a:t>
            </a:r>
            <a:r>
              <a:rPr kumimoji="0" sz="1000" b="1" i="0" u="none" strike="noStrike" kern="0" cap="none" spc="-3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ejec</a:t>
            </a:r>
            <a:r>
              <a:rPr kumimoji="0" sz="10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u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ción</a:t>
            </a:r>
            <a:endParaRPr kumimoji="0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6492807" y="3378144"/>
            <a:ext cx="881380" cy="382156"/>
          </a:xfrm>
          <a:prstGeom prst="rect">
            <a:avLst/>
          </a:prstGeom>
          <a:solidFill>
            <a:schemeClr val="tx2"/>
          </a:solidFill>
          <a:ln w="9144">
            <a:solidFill>
              <a:srgbClr val="000000"/>
            </a:solidFill>
          </a:ln>
        </p:spPr>
        <p:txBody>
          <a:bodyPr vert="horz" wrap="square" lIns="0" tIns="73660" rIns="0" bIns="0" rtlCol="0">
            <a:spAutoFit/>
          </a:bodyPr>
          <a:lstStyle/>
          <a:p>
            <a:pPr marL="240665" marR="10160" lvl="0" indent="-224154" algn="ctr" defTabSz="1219169" rtl="0" eaLnBrk="1" fontAlgn="auto" latinLnBrk="0" hangingPunct="0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Fo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cal</a:t>
            </a:r>
            <a:r>
              <a:rPr kumimoji="0" sz="1000" b="1" i="0" u="none" strike="noStrike" kern="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i</a:t>
            </a:r>
            <a:r>
              <a:rPr kumimoji="0" sz="1000" b="1" i="0" u="none" strike="noStrike" kern="0" cap="none" spc="-1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z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ación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 </a:t>
            </a:r>
            <a:r>
              <a:rPr kumimoji="0" sz="10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fallida</a:t>
            </a:r>
            <a:endParaRPr kumimoji="0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6457140" y="4136287"/>
            <a:ext cx="881380" cy="382797"/>
          </a:xfrm>
          <a:prstGeom prst="rect">
            <a:avLst/>
          </a:prstGeom>
          <a:solidFill>
            <a:schemeClr val="tx2"/>
          </a:solidFill>
          <a:ln w="9144">
            <a:solidFill>
              <a:srgbClr val="000000"/>
            </a:solidFill>
          </a:ln>
        </p:spPr>
        <p:txBody>
          <a:bodyPr vert="horz" wrap="square" lIns="0" tIns="74295" rIns="0" bIns="0" rtlCol="0">
            <a:spAutoFit/>
          </a:bodyPr>
          <a:lstStyle/>
          <a:p>
            <a:pPr marL="199390" marR="10160" lvl="0" indent="-182880" algn="ctr" defTabSz="1219169" rtl="0" eaLnBrk="1" fontAlgn="auto" latinLnBrk="0" hangingPunct="0">
              <a:lnSpc>
                <a:spcPct val="100000"/>
              </a:lnSpc>
              <a:spcBef>
                <a:spcPts val="5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Fo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cal</a:t>
            </a:r>
            <a:r>
              <a:rPr kumimoji="0" sz="1000" b="1" i="0" u="none" strike="noStrike" kern="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i</a:t>
            </a:r>
            <a:r>
              <a:rPr kumimoji="0" sz="1000" b="1" i="0" u="none" strike="noStrike" kern="0" cap="none" spc="-1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z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ación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 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exitosa</a:t>
            </a:r>
            <a:endParaRPr kumimoji="0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8518754" y="5515272"/>
            <a:ext cx="938896" cy="383438"/>
          </a:xfrm>
          <a:prstGeom prst="rect">
            <a:avLst/>
          </a:prstGeom>
          <a:solidFill>
            <a:schemeClr val="tx2"/>
          </a:solidFill>
          <a:ln w="9144">
            <a:solidFill>
              <a:srgbClr val="000000"/>
            </a:solidFill>
          </a:ln>
        </p:spPr>
        <p:txBody>
          <a:bodyPr vert="horz" wrap="square" lIns="0" tIns="74930" rIns="0" bIns="0" rtlCol="0">
            <a:spAutoFit/>
          </a:bodyPr>
          <a:lstStyle/>
          <a:p>
            <a:pPr marL="182245" marR="25400" lvl="0" indent="-147955" algn="l" defTabSz="1219169" rtl="0" eaLnBrk="1" fontAlgn="auto" latinLnBrk="0" hangingPunct="0">
              <a:lnSpc>
                <a:spcPct val="100000"/>
              </a:lnSpc>
              <a:spcBef>
                <a:spcPts val="5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*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Q</a:t>
            </a:r>
            <a:r>
              <a:rPr kumimoji="0" sz="10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u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ie</a:t>
            </a:r>
            <a:r>
              <a:rPr kumimoji="0" sz="10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b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re</a:t>
            </a:r>
            <a:r>
              <a:rPr kumimoji="0" sz="1000" b="1" i="0" u="none" strike="noStrike" kern="0" cap="none" spc="-3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de  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servicio</a:t>
            </a:r>
            <a:endParaRPr kumimoji="0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1137360" y="4373912"/>
            <a:ext cx="973838" cy="81581"/>
          </a:xfrm>
          <a:custGeom>
            <a:avLst/>
            <a:gdLst/>
            <a:ahLst/>
            <a:cxnLst/>
            <a:rect l="l" t="t" r="r" b="b"/>
            <a:pathLst>
              <a:path w="1489075" h="76200">
                <a:moveTo>
                  <a:pt x="1412874" y="0"/>
                </a:moveTo>
                <a:lnTo>
                  <a:pt x="1412874" y="76199"/>
                </a:lnTo>
                <a:lnTo>
                  <a:pt x="1476374" y="44449"/>
                </a:lnTo>
                <a:lnTo>
                  <a:pt x="1425574" y="44449"/>
                </a:lnTo>
                <a:lnTo>
                  <a:pt x="1425574" y="31749"/>
                </a:lnTo>
                <a:lnTo>
                  <a:pt x="1476374" y="31749"/>
                </a:lnTo>
                <a:lnTo>
                  <a:pt x="1412874" y="0"/>
                </a:lnTo>
                <a:close/>
              </a:path>
              <a:path w="1489075" h="76200">
                <a:moveTo>
                  <a:pt x="1412874" y="31749"/>
                </a:moveTo>
                <a:lnTo>
                  <a:pt x="0" y="31749"/>
                </a:lnTo>
                <a:lnTo>
                  <a:pt x="0" y="44449"/>
                </a:lnTo>
                <a:lnTo>
                  <a:pt x="1412874" y="44449"/>
                </a:lnTo>
                <a:lnTo>
                  <a:pt x="1412874" y="31749"/>
                </a:lnTo>
                <a:close/>
              </a:path>
              <a:path w="1489075" h="76200">
                <a:moveTo>
                  <a:pt x="1476374" y="31749"/>
                </a:moveTo>
                <a:lnTo>
                  <a:pt x="1425574" y="31749"/>
                </a:lnTo>
                <a:lnTo>
                  <a:pt x="1425574" y="44449"/>
                </a:lnTo>
                <a:lnTo>
                  <a:pt x="1476374" y="44449"/>
                </a:lnTo>
                <a:lnTo>
                  <a:pt x="1489074" y="38099"/>
                </a:lnTo>
                <a:lnTo>
                  <a:pt x="1476374" y="3174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3175197" y="3225925"/>
            <a:ext cx="958418" cy="2085975"/>
          </a:xfrm>
          <a:custGeom>
            <a:avLst/>
            <a:gdLst/>
            <a:ahLst/>
            <a:cxnLst/>
            <a:rect l="l" t="t" r="r" b="b"/>
            <a:pathLst>
              <a:path w="923925" h="1833879">
                <a:moveTo>
                  <a:pt x="923925" y="1048512"/>
                </a:moveTo>
                <a:lnTo>
                  <a:pt x="911225" y="1042162"/>
                </a:lnTo>
                <a:lnTo>
                  <a:pt x="847725" y="1010412"/>
                </a:lnTo>
                <a:lnTo>
                  <a:pt x="847725" y="1042162"/>
                </a:lnTo>
                <a:lnTo>
                  <a:pt x="465582" y="1042162"/>
                </a:lnTo>
                <a:lnTo>
                  <a:pt x="465582" y="1041273"/>
                </a:lnTo>
                <a:lnTo>
                  <a:pt x="465582" y="44450"/>
                </a:lnTo>
                <a:lnTo>
                  <a:pt x="842264" y="44450"/>
                </a:lnTo>
                <a:lnTo>
                  <a:pt x="842264" y="76200"/>
                </a:lnTo>
                <a:lnTo>
                  <a:pt x="905764" y="44450"/>
                </a:lnTo>
                <a:lnTo>
                  <a:pt x="918464" y="38100"/>
                </a:lnTo>
                <a:lnTo>
                  <a:pt x="905764" y="31750"/>
                </a:lnTo>
                <a:lnTo>
                  <a:pt x="842264" y="0"/>
                </a:lnTo>
                <a:lnTo>
                  <a:pt x="842264" y="31750"/>
                </a:lnTo>
                <a:lnTo>
                  <a:pt x="455676" y="31750"/>
                </a:lnTo>
                <a:lnTo>
                  <a:pt x="452882" y="34544"/>
                </a:lnTo>
                <a:lnTo>
                  <a:pt x="452882" y="1041273"/>
                </a:lnTo>
                <a:lnTo>
                  <a:pt x="0" y="1041273"/>
                </a:lnTo>
                <a:lnTo>
                  <a:pt x="0" y="1042162"/>
                </a:lnTo>
                <a:lnTo>
                  <a:pt x="0" y="1053973"/>
                </a:lnTo>
                <a:lnTo>
                  <a:pt x="0" y="1054862"/>
                </a:lnTo>
                <a:lnTo>
                  <a:pt x="454279" y="1054862"/>
                </a:lnTo>
                <a:lnTo>
                  <a:pt x="454279" y="1799082"/>
                </a:lnTo>
                <a:lnTo>
                  <a:pt x="457073" y="1801876"/>
                </a:lnTo>
                <a:lnTo>
                  <a:pt x="845058" y="1801876"/>
                </a:lnTo>
                <a:lnTo>
                  <a:pt x="845058" y="1833626"/>
                </a:lnTo>
                <a:lnTo>
                  <a:pt x="908558" y="1801876"/>
                </a:lnTo>
                <a:lnTo>
                  <a:pt x="921258" y="1795526"/>
                </a:lnTo>
                <a:lnTo>
                  <a:pt x="908558" y="1789176"/>
                </a:lnTo>
                <a:lnTo>
                  <a:pt x="845058" y="1757426"/>
                </a:lnTo>
                <a:lnTo>
                  <a:pt x="845058" y="1789176"/>
                </a:lnTo>
                <a:lnTo>
                  <a:pt x="466979" y="1789176"/>
                </a:lnTo>
                <a:lnTo>
                  <a:pt x="466979" y="1054862"/>
                </a:lnTo>
                <a:lnTo>
                  <a:pt x="847725" y="1054862"/>
                </a:lnTo>
                <a:lnTo>
                  <a:pt x="847725" y="1086612"/>
                </a:lnTo>
                <a:lnTo>
                  <a:pt x="911225" y="1054862"/>
                </a:lnTo>
                <a:lnTo>
                  <a:pt x="923925" y="10485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5613497" y="3597584"/>
            <a:ext cx="821499" cy="812453"/>
          </a:xfrm>
          <a:custGeom>
            <a:avLst/>
            <a:gdLst/>
            <a:ahLst/>
            <a:cxnLst/>
            <a:rect l="l" t="t" r="r" b="b"/>
            <a:pathLst>
              <a:path w="1167129" h="662304">
                <a:moveTo>
                  <a:pt x="1166876" y="38100"/>
                </a:moveTo>
                <a:lnTo>
                  <a:pt x="1154176" y="31750"/>
                </a:lnTo>
                <a:lnTo>
                  <a:pt x="1090676" y="0"/>
                </a:lnTo>
                <a:lnTo>
                  <a:pt x="1090676" y="31750"/>
                </a:lnTo>
                <a:lnTo>
                  <a:pt x="579882" y="31750"/>
                </a:lnTo>
                <a:lnTo>
                  <a:pt x="577088" y="34544"/>
                </a:lnTo>
                <a:lnTo>
                  <a:pt x="577088" y="613537"/>
                </a:lnTo>
                <a:lnTo>
                  <a:pt x="0" y="613537"/>
                </a:lnTo>
                <a:lnTo>
                  <a:pt x="0" y="613918"/>
                </a:lnTo>
                <a:lnTo>
                  <a:pt x="0" y="626237"/>
                </a:lnTo>
                <a:lnTo>
                  <a:pt x="0" y="626618"/>
                </a:lnTo>
                <a:lnTo>
                  <a:pt x="1090650" y="630262"/>
                </a:lnTo>
                <a:lnTo>
                  <a:pt x="1090549" y="661924"/>
                </a:lnTo>
                <a:lnTo>
                  <a:pt x="1154315" y="630301"/>
                </a:lnTo>
                <a:lnTo>
                  <a:pt x="1166876" y="624078"/>
                </a:lnTo>
                <a:lnTo>
                  <a:pt x="1090803" y="585724"/>
                </a:lnTo>
                <a:lnTo>
                  <a:pt x="1090688" y="617562"/>
                </a:lnTo>
                <a:lnTo>
                  <a:pt x="589788" y="615899"/>
                </a:lnTo>
                <a:lnTo>
                  <a:pt x="589788" y="613537"/>
                </a:lnTo>
                <a:lnTo>
                  <a:pt x="589788" y="44450"/>
                </a:lnTo>
                <a:lnTo>
                  <a:pt x="1090676" y="44450"/>
                </a:lnTo>
                <a:lnTo>
                  <a:pt x="1090676" y="76200"/>
                </a:lnTo>
                <a:lnTo>
                  <a:pt x="1154176" y="44450"/>
                </a:lnTo>
                <a:lnTo>
                  <a:pt x="1166876" y="381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7423030" y="3777936"/>
            <a:ext cx="1022350" cy="2085975"/>
          </a:xfrm>
          <a:custGeom>
            <a:avLst/>
            <a:gdLst/>
            <a:ahLst/>
            <a:cxnLst/>
            <a:rect l="l" t="t" r="r" b="b"/>
            <a:pathLst>
              <a:path w="1022350" h="2085975">
                <a:moveTo>
                  <a:pt x="1022350" y="591566"/>
                </a:moveTo>
                <a:lnTo>
                  <a:pt x="1009650" y="585216"/>
                </a:lnTo>
                <a:lnTo>
                  <a:pt x="946150" y="553466"/>
                </a:lnTo>
                <a:lnTo>
                  <a:pt x="946150" y="585216"/>
                </a:lnTo>
                <a:lnTo>
                  <a:pt x="517525" y="585216"/>
                </a:lnTo>
                <a:lnTo>
                  <a:pt x="517525" y="12700"/>
                </a:lnTo>
                <a:lnTo>
                  <a:pt x="517525" y="6350"/>
                </a:lnTo>
                <a:lnTo>
                  <a:pt x="517525" y="2794"/>
                </a:lnTo>
                <a:lnTo>
                  <a:pt x="514731" y="0"/>
                </a:lnTo>
                <a:lnTo>
                  <a:pt x="0" y="0"/>
                </a:lnTo>
                <a:lnTo>
                  <a:pt x="0" y="12700"/>
                </a:lnTo>
                <a:lnTo>
                  <a:pt x="504825" y="12700"/>
                </a:lnTo>
                <a:lnTo>
                  <a:pt x="504825" y="585216"/>
                </a:lnTo>
                <a:lnTo>
                  <a:pt x="0" y="585216"/>
                </a:lnTo>
                <a:lnTo>
                  <a:pt x="0" y="597916"/>
                </a:lnTo>
                <a:lnTo>
                  <a:pt x="504825" y="597916"/>
                </a:lnTo>
                <a:lnTo>
                  <a:pt x="504825" y="1308227"/>
                </a:lnTo>
                <a:lnTo>
                  <a:pt x="504825" y="2050948"/>
                </a:lnTo>
                <a:lnTo>
                  <a:pt x="504825" y="2051380"/>
                </a:lnTo>
                <a:lnTo>
                  <a:pt x="507619" y="2054225"/>
                </a:lnTo>
                <a:lnTo>
                  <a:pt x="946150" y="2054225"/>
                </a:lnTo>
                <a:lnTo>
                  <a:pt x="946150" y="2085543"/>
                </a:lnTo>
                <a:lnTo>
                  <a:pt x="946150" y="2085975"/>
                </a:lnTo>
                <a:lnTo>
                  <a:pt x="1009650" y="2054225"/>
                </a:lnTo>
                <a:lnTo>
                  <a:pt x="1022350" y="2047875"/>
                </a:lnTo>
                <a:lnTo>
                  <a:pt x="1021918" y="2047659"/>
                </a:lnTo>
                <a:lnTo>
                  <a:pt x="1022350" y="2047443"/>
                </a:lnTo>
                <a:lnTo>
                  <a:pt x="1009650" y="2041093"/>
                </a:lnTo>
                <a:lnTo>
                  <a:pt x="946150" y="2009343"/>
                </a:lnTo>
                <a:lnTo>
                  <a:pt x="946150" y="2009775"/>
                </a:lnTo>
                <a:lnTo>
                  <a:pt x="946150" y="2041093"/>
                </a:lnTo>
                <a:lnTo>
                  <a:pt x="517525" y="2041093"/>
                </a:lnTo>
                <a:lnTo>
                  <a:pt x="517525" y="1311021"/>
                </a:lnTo>
                <a:lnTo>
                  <a:pt x="946150" y="1311021"/>
                </a:lnTo>
                <a:lnTo>
                  <a:pt x="946150" y="1342771"/>
                </a:lnTo>
                <a:lnTo>
                  <a:pt x="1009650" y="1311021"/>
                </a:lnTo>
                <a:lnTo>
                  <a:pt x="1022350" y="1304671"/>
                </a:lnTo>
                <a:lnTo>
                  <a:pt x="1009650" y="1298321"/>
                </a:lnTo>
                <a:lnTo>
                  <a:pt x="946150" y="1266571"/>
                </a:lnTo>
                <a:lnTo>
                  <a:pt x="946150" y="1298321"/>
                </a:lnTo>
                <a:lnTo>
                  <a:pt x="517525" y="1298321"/>
                </a:lnTo>
                <a:lnTo>
                  <a:pt x="517525" y="597916"/>
                </a:lnTo>
                <a:lnTo>
                  <a:pt x="946150" y="597916"/>
                </a:lnTo>
                <a:lnTo>
                  <a:pt x="946150" y="629666"/>
                </a:lnTo>
                <a:lnTo>
                  <a:pt x="1009650" y="597916"/>
                </a:lnTo>
                <a:lnTo>
                  <a:pt x="1022350" y="5915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9545039" y="4351260"/>
            <a:ext cx="327660" cy="76200"/>
          </a:xfrm>
          <a:custGeom>
            <a:avLst/>
            <a:gdLst/>
            <a:ahLst/>
            <a:cxnLst/>
            <a:rect l="l" t="t" r="r" b="b"/>
            <a:pathLst>
              <a:path w="327659" h="76200">
                <a:moveTo>
                  <a:pt x="314943" y="31623"/>
                </a:moveTo>
                <a:lnTo>
                  <a:pt x="263778" y="31623"/>
                </a:lnTo>
                <a:lnTo>
                  <a:pt x="263778" y="44323"/>
                </a:lnTo>
                <a:lnTo>
                  <a:pt x="251173" y="44383"/>
                </a:lnTo>
                <a:lnTo>
                  <a:pt x="251332" y="76200"/>
                </a:lnTo>
                <a:lnTo>
                  <a:pt x="327278" y="37718"/>
                </a:lnTo>
                <a:lnTo>
                  <a:pt x="314943" y="31623"/>
                </a:lnTo>
                <a:close/>
              </a:path>
              <a:path w="327659" h="76200">
                <a:moveTo>
                  <a:pt x="251110" y="31683"/>
                </a:moveTo>
                <a:lnTo>
                  <a:pt x="0" y="32893"/>
                </a:lnTo>
                <a:lnTo>
                  <a:pt x="0" y="45593"/>
                </a:lnTo>
                <a:lnTo>
                  <a:pt x="251173" y="44383"/>
                </a:lnTo>
                <a:lnTo>
                  <a:pt x="251110" y="31683"/>
                </a:lnTo>
                <a:close/>
              </a:path>
              <a:path w="327659" h="76200">
                <a:moveTo>
                  <a:pt x="263778" y="31623"/>
                </a:moveTo>
                <a:lnTo>
                  <a:pt x="251110" y="31683"/>
                </a:lnTo>
                <a:lnTo>
                  <a:pt x="251173" y="44383"/>
                </a:lnTo>
                <a:lnTo>
                  <a:pt x="263778" y="44323"/>
                </a:lnTo>
                <a:lnTo>
                  <a:pt x="263778" y="31623"/>
                </a:lnTo>
                <a:close/>
              </a:path>
              <a:path w="327659" h="76200">
                <a:moveTo>
                  <a:pt x="250951" y="0"/>
                </a:moveTo>
                <a:lnTo>
                  <a:pt x="251110" y="31683"/>
                </a:lnTo>
                <a:lnTo>
                  <a:pt x="314943" y="31623"/>
                </a:lnTo>
                <a:lnTo>
                  <a:pt x="25095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pic>
        <p:nvPicPr>
          <p:cNvPr id="62" name="object 6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844279" y="4348666"/>
            <a:ext cx="228854" cy="76200"/>
          </a:xfrm>
          <a:prstGeom prst="rect">
            <a:avLst/>
          </a:prstGeom>
        </p:spPr>
      </p:pic>
      <p:sp>
        <p:nvSpPr>
          <p:cNvPr id="63" name="object 63"/>
          <p:cNvSpPr/>
          <p:nvPr/>
        </p:nvSpPr>
        <p:spPr>
          <a:xfrm>
            <a:off x="883264" y="5848359"/>
            <a:ext cx="6687968" cy="223815"/>
          </a:xfrm>
          <a:custGeom>
            <a:avLst/>
            <a:gdLst/>
            <a:ahLst/>
            <a:cxnLst/>
            <a:rect l="l" t="t" r="r" b="b"/>
            <a:pathLst>
              <a:path w="7053580" h="266700">
                <a:moveTo>
                  <a:pt x="0" y="0"/>
                </a:moveTo>
                <a:lnTo>
                  <a:pt x="1745" y="51911"/>
                </a:lnTo>
                <a:lnTo>
                  <a:pt x="6507" y="94297"/>
                </a:lnTo>
                <a:lnTo>
                  <a:pt x="13571" y="122872"/>
                </a:lnTo>
                <a:lnTo>
                  <a:pt x="22225" y="133350"/>
                </a:lnTo>
                <a:lnTo>
                  <a:pt x="3574669" y="133350"/>
                </a:lnTo>
                <a:lnTo>
                  <a:pt x="3583285" y="143829"/>
                </a:lnTo>
                <a:lnTo>
                  <a:pt x="3590353" y="172407"/>
                </a:lnTo>
                <a:lnTo>
                  <a:pt x="3595135" y="214794"/>
                </a:lnTo>
                <a:lnTo>
                  <a:pt x="3596894" y="266700"/>
                </a:lnTo>
                <a:lnTo>
                  <a:pt x="3598634" y="214794"/>
                </a:lnTo>
                <a:lnTo>
                  <a:pt x="3603386" y="172407"/>
                </a:lnTo>
                <a:lnTo>
                  <a:pt x="3610449" y="143829"/>
                </a:lnTo>
                <a:lnTo>
                  <a:pt x="3619119" y="133350"/>
                </a:lnTo>
                <a:lnTo>
                  <a:pt x="7030847" y="133350"/>
                </a:lnTo>
                <a:lnTo>
                  <a:pt x="7039516" y="122872"/>
                </a:lnTo>
                <a:lnTo>
                  <a:pt x="7046579" y="94297"/>
                </a:lnTo>
                <a:lnTo>
                  <a:pt x="7051331" y="51911"/>
                </a:lnTo>
                <a:lnTo>
                  <a:pt x="7053072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193547" y="2694432"/>
            <a:ext cx="11998960" cy="6350"/>
          </a:xfrm>
          <a:custGeom>
            <a:avLst/>
            <a:gdLst/>
            <a:ahLst/>
            <a:cxnLst/>
            <a:rect l="l" t="t" r="r" b="b"/>
            <a:pathLst>
              <a:path w="11998960" h="6350">
                <a:moveTo>
                  <a:pt x="0" y="6096"/>
                </a:moveTo>
                <a:lnTo>
                  <a:pt x="11998452" y="6096"/>
                </a:lnTo>
                <a:lnTo>
                  <a:pt x="11998452" y="0"/>
                </a:lnTo>
                <a:lnTo>
                  <a:pt x="0" y="0"/>
                </a:lnTo>
                <a:lnTo>
                  <a:pt x="0" y="6096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195834" y="3096005"/>
            <a:ext cx="1392555" cy="0"/>
          </a:xfrm>
          <a:custGeom>
            <a:avLst/>
            <a:gdLst/>
            <a:ahLst/>
            <a:cxnLst/>
            <a:rect l="l" t="t" r="r" b="b"/>
            <a:pathLst>
              <a:path w="1392555">
                <a:moveTo>
                  <a:pt x="1392174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0C662E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81457" y="2839288"/>
            <a:ext cx="139890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-5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Flujo</a:t>
            </a:r>
            <a:r>
              <a:rPr kumimoji="0" sz="1400" b="1" i="0" u="none" strike="noStrike" kern="0" cap="none" spc="-9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Salesforc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6596734" y="6573329"/>
            <a:ext cx="530987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1219169" rtl="0" eaLnBrk="1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*Estos</a:t>
            </a:r>
            <a:r>
              <a:rPr kumimoji="0" sz="900" b="0" i="0" u="none" strike="noStrike" kern="0" cap="none" spc="-2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cambios</a:t>
            </a:r>
            <a:r>
              <a:rPr kumimoji="0" sz="900" b="0" i="0" u="none" strike="noStrike" kern="0" cap="none" spc="-2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de</a:t>
            </a:r>
            <a:r>
              <a:rPr kumimoji="0" sz="900" b="0" i="0" u="none" strike="noStrike" kern="0" cap="none" spc="-5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900" b="0" i="0" u="none" strike="noStrike" kern="0" cap="none" spc="0" normalizeH="0" baseline="0" noProof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subestado</a:t>
            </a:r>
            <a:r>
              <a:rPr kumimoji="0" sz="900" b="0" i="0" u="none" strike="noStrike" kern="0" cap="none" spc="-2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900" b="0" i="0" u="none" strike="noStrike" kern="0" cap="none" spc="-5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lo</a:t>
            </a:r>
            <a:r>
              <a:rPr kumimoji="0" sz="900" b="0" i="0" u="none" strike="noStrike" kern="0" cap="none" spc="5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900" b="0" i="0" u="none" strike="noStrike" kern="0" cap="none" spc="-5" normalizeH="0" baseline="0" noProof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realiza</a:t>
            </a:r>
            <a:r>
              <a:rPr kumimoji="0" sz="900" b="0" i="0" u="none" strike="noStrike" kern="0" cap="none" spc="15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el</a:t>
            </a:r>
            <a:r>
              <a:rPr kumimoji="0" sz="900" b="0" i="0" u="none" strike="noStrike" kern="0" cap="none" spc="-5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900" b="0" i="0" u="none" strike="noStrike" kern="0" cap="none" spc="0" normalizeH="0" baseline="0" noProof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área</a:t>
            </a:r>
            <a:r>
              <a:rPr kumimoji="0" sz="900" b="0" i="0" u="none" strike="noStrike" kern="0" cap="none" spc="-15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de</a:t>
            </a:r>
            <a:r>
              <a:rPr kumimoji="0" sz="900" b="0" i="0" u="none" strike="noStrike" kern="0" cap="none" spc="-1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Operación</a:t>
            </a:r>
            <a:r>
              <a:rPr kumimoji="0" sz="900" b="0" i="0" u="none" strike="noStrike" kern="0" cap="none" spc="-2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de</a:t>
            </a:r>
            <a:r>
              <a:rPr kumimoji="0" sz="900" b="0" i="0" u="none" strike="noStrike" kern="0" cap="none" spc="-1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900" b="0" i="0" u="none" strike="noStrike" kern="0" cap="none" spc="-5" normalizeH="0" baseline="0" noProof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Capacitación</a:t>
            </a:r>
            <a:r>
              <a:rPr kumimoji="0" sz="900" b="0" i="0" u="none" strike="noStrike" kern="0" cap="none" spc="1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900" b="0" i="0" u="none" strike="noStrike" kern="0" cap="none" spc="-5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ACHS.</a:t>
            </a:r>
            <a:endParaRPr kumimoji="0" sz="900" b="0" i="0" u="none" strike="noStrike" kern="0" cap="none" spc="0" normalizeH="0" baseline="0" noProof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</p:txBody>
      </p:sp>
      <p:sp>
        <p:nvSpPr>
          <p:cNvPr id="70" name="object 46"/>
          <p:cNvSpPr txBox="1"/>
          <p:nvPr/>
        </p:nvSpPr>
        <p:spPr>
          <a:xfrm>
            <a:off x="4227248" y="3051201"/>
            <a:ext cx="1214320" cy="475771"/>
          </a:xfrm>
          <a:prstGeom prst="rect">
            <a:avLst/>
          </a:prstGeom>
          <a:solidFill>
            <a:schemeClr val="tx2"/>
          </a:solidFill>
          <a:ln w="9144">
            <a:solidFill>
              <a:srgbClr val="000000"/>
            </a:solidFill>
          </a:ln>
        </p:spPr>
        <p:txBody>
          <a:bodyPr vert="horz" wrap="square" lIns="0" tIns="7493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100000"/>
              </a:lnSpc>
              <a:spcBef>
                <a:spcPts val="5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Rechazado Otec</a:t>
            </a:r>
            <a:br>
              <a:rPr kumimoji="0" lang="es-ES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</a:b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(plazo para rechazar 1 día)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</p:txBody>
      </p:sp>
      <p:sp>
        <p:nvSpPr>
          <p:cNvPr id="71" name="object 47"/>
          <p:cNvSpPr txBox="1"/>
          <p:nvPr/>
        </p:nvSpPr>
        <p:spPr>
          <a:xfrm>
            <a:off x="6440254" y="4993936"/>
            <a:ext cx="881380" cy="382156"/>
          </a:xfrm>
          <a:prstGeom prst="rect">
            <a:avLst/>
          </a:prstGeom>
          <a:solidFill>
            <a:schemeClr val="tx2"/>
          </a:solidFill>
          <a:ln w="9144">
            <a:solidFill>
              <a:srgbClr val="000000"/>
            </a:solidFill>
          </a:ln>
        </p:spPr>
        <p:txBody>
          <a:bodyPr vert="horz" wrap="square" lIns="0" tIns="73660" rIns="0" bIns="0" rtlCol="0">
            <a:spAutoFit/>
          </a:bodyPr>
          <a:lstStyle/>
          <a:p>
            <a:pPr marL="177800" marR="59690" lvl="0" indent="-111760" algn="l" defTabSz="1219169" rtl="0" eaLnBrk="1" fontAlgn="auto" latinLnBrk="0" hangingPunct="0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Gastos</a:t>
            </a:r>
            <a:r>
              <a:rPr kumimoji="0" sz="1000" b="1" i="0" u="none" strike="noStrike" kern="0" cap="none" spc="-8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por </a:t>
            </a:r>
            <a:r>
              <a:rPr kumimoji="0" sz="1000" b="1" i="0" u="none" strike="noStrike" kern="0" cap="none" spc="-3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 </a:t>
            </a:r>
            <a:r>
              <a:rPr kumimoji="0" sz="1000" b="1" i="0" u="none" strike="noStrike" kern="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T"/>
                <a:ea typeface="+mn-ea"/>
                <a:cs typeface="Arial MT"/>
                <a:sym typeface="Helvetica Neue"/>
              </a:rPr>
              <a:t>aprobar</a:t>
            </a:r>
            <a:endParaRPr kumimoji="0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T"/>
              <a:ea typeface="+mn-ea"/>
              <a:cs typeface="Arial MT"/>
              <a:sym typeface="Helvetica Neue"/>
            </a:endParaRPr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id="{A8187C7B-63BE-FA4B-E028-74891C6C1B42}"/>
              </a:ext>
            </a:extLst>
          </p:cNvPr>
          <p:cNvSpPr/>
          <p:nvPr/>
        </p:nvSpPr>
        <p:spPr>
          <a:xfrm>
            <a:off x="10537570" y="5791532"/>
            <a:ext cx="1285622" cy="662250"/>
          </a:xfrm>
          <a:prstGeom prst="ellipse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8" name="object 43">
            <a:extLst>
              <a:ext uri="{FF2B5EF4-FFF2-40B4-BE49-F238E27FC236}">
                <a16:creationId xmlns:a16="http://schemas.microsoft.com/office/drawing/2014/main" id="{A3016FC0-36D1-9438-A19D-B262E482313A}"/>
              </a:ext>
            </a:extLst>
          </p:cNvPr>
          <p:cNvSpPr txBox="1"/>
          <p:nvPr/>
        </p:nvSpPr>
        <p:spPr>
          <a:xfrm>
            <a:off x="1746989" y="6141175"/>
            <a:ext cx="4749564" cy="513602"/>
          </a:xfrm>
          <a:prstGeom prst="rect">
            <a:avLst/>
          </a:prstGeom>
          <a:solidFill>
            <a:schemeClr val="tx2"/>
          </a:solidFill>
          <a:ln w="9143">
            <a:solidFill>
              <a:srgbClr val="000000"/>
            </a:solidFill>
          </a:ln>
        </p:spPr>
        <p:txBody>
          <a:bodyPr vert="horz" wrap="square" lIns="0" tIns="5715" rIns="0" bIns="0" rtlCol="0" anchor="ctr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ea typeface="+mn-ea"/>
              <a:cs typeface="Times New Roman"/>
              <a:sym typeface="Helvetica Neue"/>
            </a:endParaRPr>
          </a:p>
          <a:p>
            <a:pPr algn="ctr">
              <a:lnSpc>
                <a:spcPct val="100000"/>
              </a:lnSpc>
              <a:spcBef>
                <a:spcPts val="45"/>
              </a:spcBef>
              <a:defRPr/>
            </a:pPr>
            <a:r>
              <a:rPr lang="en-US" sz="1000" b="1" spc="-5" err="1">
                <a:latin typeface="Arial MT"/>
                <a:cs typeface="Arial MT"/>
              </a:rPr>
              <a:t>Cancelado</a:t>
            </a:r>
            <a:r>
              <a:rPr lang="en-US" sz="1000" b="1" spc="-5">
                <a:latin typeface="Arial MT"/>
                <a:cs typeface="Arial MT"/>
              </a:rPr>
              <a:t> </a:t>
            </a:r>
            <a:r>
              <a:rPr lang="en-US" sz="1000" b="1" spc="-5" err="1">
                <a:latin typeface="Arial MT"/>
                <a:cs typeface="Arial MT"/>
              </a:rPr>
              <a:t>Dentro</a:t>
            </a:r>
            <a:r>
              <a:rPr lang="en-US" sz="1000" b="1" spc="-5">
                <a:latin typeface="Arial MT"/>
                <a:cs typeface="Arial MT"/>
              </a:rPr>
              <a:t> de </a:t>
            </a:r>
            <a:r>
              <a:rPr lang="en-US" sz="1000" b="1" spc="-5" err="1">
                <a:latin typeface="Arial MT"/>
                <a:cs typeface="Arial MT"/>
              </a:rPr>
              <a:t>Plazo</a:t>
            </a:r>
            <a:endParaRPr lang="en-US" sz="1000" b="1" spc="-5">
              <a:latin typeface="Arial MT"/>
              <a:cs typeface="Arial MT"/>
            </a:endParaRPr>
          </a:p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ea typeface="+mn-ea"/>
              <a:cs typeface="Times New Roman"/>
              <a:sym typeface="Helvetica Neue"/>
            </a:endParaRPr>
          </a:p>
        </p:txBody>
      </p:sp>
      <p:sp>
        <p:nvSpPr>
          <p:cNvPr id="69" name="object 61">
            <a:extLst>
              <a:ext uri="{FF2B5EF4-FFF2-40B4-BE49-F238E27FC236}">
                <a16:creationId xmlns:a16="http://schemas.microsoft.com/office/drawing/2014/main" id="{AEBC7442-730F-08A6-3F89-38211B3F07F6}"/>
              </a:ext>
            </a:extLst>
          </p:cNvPr>
          <p:cNvSpPr/>
          <p:nvPr/>
        </p:nvSpPr>
        <p:spPr>
          <a:xfrm rot="16200000">
            <a:off x="6745521" y="4793286"/>
            <a:ext cx="327660" cy="76200"/>
          </a:xfrm>
          <a:custGeom>
            <a:avLst/>
            <a:gdLst/>
            <a:ahLst/>
            <a:cxnLst/>
            <a:rect l="l" t="t" r="r" b="b"/>
            <a:pathLst>
              <a:path w="327659" h="76200">
                <a:moveTo>
                  <a:pt x="314943" y="31623"/>
                </a:moveTo>
                <a:lnTo>
                  <a:pt x="263778" y="31623"/>
                </a:lnTo>
                <a:lnTo>
                  <a:pt x="263778" y="44323"/>
                </a:lnTo>
                <a:lnTo>
                  <a:pt x="251173" y="44383"/>
                </a:lnTo>
                <a:lnTo>
                  <a:pt x="251332" y="76200"/>
                </a:lnTo>
                <a:lnTo>
                  <a:pt x="327278" y="37718"/>
                </a:lnTo>
                <a:lnTo>
                  <a:pt x="314943" y="31623"/>
                </a:lnTo>
                <a:close/>
              </a:path>
              <a:path w="327659" h="76200">
                <a:moveTo>
                  <a:pt x="251110" y="31683"/>
                </a:moveTo>
                <a:lnTo>
                  <a:pt x="0" y="32893"/>
                </a:lnTo>
                <a:lnTo>
                  <a:pt x="0" y="45593"/>
                </a:lnTo>
                <a:lnTo>
                  <a:pt x="251173" y="44383"/>
                </a:lnTo>
                <a:lnTo>
                  <a:pt x="251110" y="31683"/>
                </a:lnTo>
                <a:close/>
              </a:path>
              <a:path w="327659" h="76200">
                <a:moveTo>
                  <a:pt x="263778" y="31623"/>
                </a:moveTo>
                <a:lnTo>
                  <a:pt x="251110" y="31683"/>
                </a:lnTo>
                <a:lnTo>
                  <a:pt x="251173" y="44383"/>
                </a:lnTo>
                <a:lnTo>
                  <a:pt x="263778" y="44323"/>
                </a:lnTo>
                <a:lnTo>
                  <a:pt x="263778" y="31623"/>
                </a:lnTo>
                <a:close/>
              </a:path>
              <a:path w="327659" h="76200">
                <a:moveTo>
                  <a:pt x="250951" y="0"/>
                </a:moveTo>
                <a:lnTo>
                  <a:pt x="251110" y="31683"/>
                </a:lnTo>
                <a:lnTo>
                  <a:pt x="314943" y="31623"/>
                </a:lnTo>
                <a:lnTo>
                  <a:pt x="25095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139044874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BF12669-0DD3-334E-84CF-599E7654D7E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742433" y="5073904"/>
            <a:ext cx="8046720" cy="79794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 sz="2000" b="1">
                <a:solidFill>
                  <a:schemeClr val="bg1"/>
                </a:solidFill>
                <a:latin typeface="Arial"/>
                <a:cs typeface="Arial"/>
              </a:rPr>
              <a:t>MODALIDADES DE CAPACITACIÓN</a:t>
            </a:r>
            <a:endParaRPr lang="es-CL" sz="2000" b="1">
              <a:solidFill>
                <a:schemeClr val="bg1"/>
              </a:solidFill>
            </a:endParaRPr>
          </a:p>
          <a:p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BC594BF-73F1-B340-B8F1-9C1201A8EE58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2908300"/>
            <a:ext cx="3603625" cy="1450975"/>
          </a:xfrm>
        </p:spPr>
        <p:txBody>
          <a:bodyPr vert="horz" lIns="91440" tIns="45720" rIns="91440" bIns="45720" anchor="t">
            <a:normAutofit fontScale="90000"/>
          </a:bodyPr>
          <a:lstStyle/>
          <a:p>
            <a:r>
              <a:rPr lang="es-CL" sz="4000">
                <a:solidFill>
                  <a:schemeClr val="bg2"/>
                </a:solidFill>
              </a:rPr>
              <a:t>Servicio de Capacitaciones ACHS</a:t>
            </a:r>
          </a:p>
        </p:txBody>
      </p:sp>
    </p:spTree>
    <p:extLst>
      <p:ext uri="{BB962C8B-B14F-4D97-AF65-F5344CB8AC3E}">
        <p14:creationId xmlns:p14="http://schemas.microsoft.com/office/powerpoint/2010/main" val="526171313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E7F3855B-536B-0F43-AFD6-74A8B13672D4}"/>
              </a:ext>
            </a:extLst>
          </p:cNvPr>
          <p:cNvSpPr/>
          <p:nvPr/>
        </p:nvSpPr>
        <p:spPr>
          <a:xfrm>
            <a:off x="9213491" y="2538181"/>
            <a:ext cx="2636843" cy="4247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SimHei"/>
                <a:cs typeface="Arial"/>
                <a:sym typeface="Helvetica Neue"/>
              </a:rPr>
              <a:t>Inscripción directa del trabajador de forma autónoma.</a:t>
            </a:r>
          </a:p>
        </p:txBody>
      </p:sp>
      <p:grpSp>
        <p:nvGrpSpPr>
          <p:cNvPr id="29" name="Grupo 28"/>
          <p:cNvGrpSpPr/>
          <p:nvPr/>
        </p:nvGrpSpPr>
        <p:grpSpPr>
          <a:xfrm>
            <a:off x="8628577" y="2490455"/>
            <a:ext cx="2872562" cy="1331131"/>
            <a:chOff x="1963446" y="1748120"/>
            <a:chExt cx="2872562" cy="1331131"/>
          </a:xfrm>
          <a:noFill/>
        </p:grpSpPr>
        <p:sp>
          <p:nvSpPr>
            <p:cNvPr id="30" name="Rectángulo 29">
              <a:extLst>
                <a:ext uri="{FF2B5EF4-FFF2-40B4-BE49-F238E27FC236}">
                  <a16:creationId xmlns:a16="http://schemas.microsoft.com/office/drawing/2014/main" id="{2028288E-7F65-914A-96B4-1942718F45EB}"/>
                </a:ext>
              </a:extLst>
            </p:cNvPr>
            <p:cNvSpPr/>
            <p:nvPr/>
          </p:nvSpPr>
          <p:spPr>
            <a:xfrm>
              <a:off x="1963446" y="1748120"/>
              <a:ext cx="1900954" cy="369332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0" cap="none" spc="0" normalizeH="0" baseline="0" noProof="0">
                <a:ln>
                  <a:noFill/>
                </a:ln>
                <a:solidFill>
                  <a:srgbClr val="1B7D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37" name="Rectángulo 36">
              <a:extLst>
                <a:ext uri="{FF2B5EF4-FFF2-40B4-BE49-F238E27FC236}">
                  <a16:creationId xmlns:a16="http://schemas.microsoft.com/office/drawing/2014/main" id="{01D7785E-E0B2-9241-BB8B-64603995F1FD}"/>
                </a:ext>
              </a:extLst>
            </p:cNvPr>
            <p:cNvSpPr/>
            <p:nvPr/>
          </p:nvSpPr>
          <p:spPr>
            <a:xfrm>
              <a:off x="3145631" y="2737619"/>
              <a:ext cx="1690377" cy="341632"/>
            </a:xfrm>
            <a:prstGeom prst="rect">
              <a:avLst/>
            </a:prstGeom>
            <a:grp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sz="1800" b="1" i="0" u="none" strike="noStrike" kern="0" cap="none" spc="0" normalizeH="0" baseline="0" noProof="0">
                  <a:ln>
                    <a:noFill/>
                  </a:ln>
                  <a:solidFill>
                    <a:srgbClr val="15BF45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Helvetica Neue"/>
                </a:rPr>
                <a:t>Cerrados</a:t>
              </a:r>
            </a:p>
          </p:txBody>
        </p:sp>
      </p:grpSp>
      <p:sp>
        <p:nvSpPr>
          <p:cNvPr id="51" name="Rectángulo 50">
            <a:extLst>
              <a:ext uri="{FF2B5EF4-FFF2-40B4-BE49-F238E27FC236}">
                <a16:creationId xmlns:a16="http://schemas.microsoft.com/office/drawing/2014/main" id="{01D7785E-E0B2-9241-BB8B-64603995F1FD}"/>
              </a:ext>
            </a:extLst>
          </p:cNvPr>
          <p:cNvSpPr/>
          <p:nvPr/>
        </p:nvSpPr>
        <p:spPr>
          <a:xfrm>
            <a:off x="9724498" y="2064305"/>
            <a:ext cx="1724685" cy="3416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Abiertos</a:t>
            </a:r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id="{E7F3855B-536B-0F43-AFD6-74A8B13672D4}"/>
              </a:ext>
            </a:extLst>
          </p:cNvPr>
          <p:cNvSpPr/>
          <p:nvPr/>
        </p:nvSpPr>
        <p:spPr>
          <a:xfrm>
            <a:off x="9213492" y="3960111"/>
            <a:ext cx="2636843" cy="5909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SimHei"/>
                <a:cs typeface="Arial"/>
                <a:sym typeface="Helvetica Neue"/>
              </a:rPr>
              <a:t>Solicitud de curso desde la empresa según requerimientos internos mediante su experto</a:t>
            </a:r>
            <a:r>
              <a:rPr kumimoji="0" lang="es-CL" sz="1200" b="0" i="0" u="none" strike="noStrike" kern="0" cap="none" spc="0" normalizeH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SimHei"/>
                <a:cs typeface="Arial"/>
                <a:sym typeface="Helvetica Neue"/>
              </a:rPr>
              <a:t> ACHS</a:t>
            </a:r>
            <a:endParaRPr kumimoji="0" lang="es-CL" sz="1200" b="0" i="0" u="none" strike="noStrike" kern="0" cap="none" spc="0" normalizeH="0" baseline="0" noProof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ea typeface="SimHei"/>
              <a:cs typeface="Arial"/>
              <a:sym typeface="Helvetica Neue"/>
            </a:endParaRP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2028288E-7F65-914A-96B4-1942718F45EB}"/>
              </a:ext>
            </a:extLst>
          </p:cNvPr>
          <p:cNvSpPr/>
          <p:nvPr/>
        </p:nvSpPr>
        <p:spPr>
          <a:xfrm>
            <a:off x="8425506" y="4732755"/>
            <a:ext cx="2204154" cy="3693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0" cap="none" spc="0" normalizeH="0" baseline="0" noProof="0">
              <a:ln>
                <a:noFill/>
              </a:ln>
              <a:solidFill>
                <a:srgbClr val="1B7D4A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6" name="Cheurón 5"/>
          <p:cNvSpPr/>
          <p:nvPr/>
        </p:nvSpPr>
        <p:spPr>
          <a:xfrm>
            <a:off x="9691529" y="2169821"/>
            <a:ext cx="220175" cy="184666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0" cap="none" spc="0" normalizeH="0" baseline="0" noProof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45" name="Cheurón 44"/>
          <p:cNvSpPr/>
          <p:nvPr/>
        </p:nvSpPr>
        <p:spPr>
          <a:xfrm>
            <a:off x="9704180" y="3582963"/>
            <a:ext cx="215557" cy="172435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0" cap="none" spc="0" normalizeH="0" baseline="0" noProof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graphicFrame>
        <p:nvGraphicFramePr>
          <p:cNvPr id="11" name="Diagrama 10">
            <a:extLst>
              <a:ext uri="{FF2B5EF4-FFF2-40B4-BE49-F238E27FC236}">
                <a16:creationId xmlns:a16="http://schemas.microsoft.com/office/drawing/2014/main" id="{D65E2236-B2D4-4DED-6139-C7B6AA73AE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155500"/>
              </p:ext>
            </p:extLst>
          </p:nvPr>
        </p:nvGraphicFramePr>
        <p:xfrm>
          <a:off x="820096" y="916132"/>
          <a:ext cx="7662062" cy="53336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3" name="CuadroTexto 12">
            <a:extLst>
              <a:ext uri="{FF2B5EF4-FFF2-40B4-BE49-F238E27FC236}">
                <a16:creationId xmlns:a16="http://schemas.microsoft.com/office/drawing/2014/main" id="{FE556212-766E-DCBD-83E7-AFCC15FE479C}"/>
              </a:ext>
            </a:extLst>
          </p:cNvPr>
          <p:cNvSpPr txBox="1"/>
          <p:nvPr/>
        </p:nvSpPr>
        <p:spPr>
          <a:xfrm>
            <a:off x="201168" y="103089"/>
            <a:ext cx="5824728" cy="8130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000" b="1" i="0" u="none" strike="noStrike" kern="0" cap="none" spc="0" normalizeH="0" baseline="0" noProof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Modalidades de Capacitación</a:t>
            </a:r>
            <a:endParaRPr kumimoji="0" lang="es-CL" sz="3000" b="1" i="0" u="none" strike="noStrike" kern="0" cap="none" spc="0" normalizeH="0" baseline="0" noProof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544085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E01DDD-DF63-D57A-8690-66243D341A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BF8B23F-8CB8-ED1E-C5F3-D2B4A2E5F8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DBF8B23F-8CB8-ED1E-C5F3-D2B4A2E5F8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id="{7CA74127-99BD-C800-CAB6-5F0CD681FD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7FA5879-E32C-3DEB-E4FC-D47DF74993A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1456660" y="5073904"/>
            <a:ext cx="10207803" cy="797941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r"/>
            <a:r>
              <a:rPr lang="es-ES" sz="2000" b="1">
                <a:solidFill>
                  <a:schemeClr val="bg1"/>
                </a:solidFill>
                <a:latin typeface="Arial"/>
                <a:cs typeface="Arial"/>
              </a:rPr>
              <a:t>ETAPAS Y SUBESTADOS DE CURSOS EN SALESFORCE</a:t>
            </a:r>
            <a:endParaRPr lang="es-ES" sz="2000" b="1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67C714E-FAAC-1A5F-D823-56CE9128CA8A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2908300"/>
            <a:ext cx="3603625" cy="1450975"/>
          </a:xfrm>
        </p:spPr>
        <p:txBody>
          <a:bodyPr vert="horz" lIns="91440" tIns="45720" rIns="91440" bIns="45720" anchor="t">
            <a:normAutofit fontScale="90000"/>
          </a:bodyPr>
          <a:lstStyle/>
          <a:p>
            <a:r>
              <a:rPr lang="es-CL" sz="4000">
                <a:solidFill>
                  <a:schemeClr val="bg2"/>
                </a:solidFill>
              </a:rPr>
              <a:t>Servicio de Capacitaciones ACHS</a:t>
            </a:r>
          </a:p>
        </p:txBody>
      </p:sp>
    </p:spTree>
    <p:extLst>
      <p:ext uri="{BB962C8B-B14F-4D97-AF65-F5344CB8AC3E}">
        <p14:creationId xmlns:p14="http://schemas.microsoft.com/office/powerpoint/2010/main" val="2711332756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2A3DF2-4F92-4742-A16F-2179B6CBC8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3804918-D1F8-7FDD-3C96-1D4360685936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855B4B6-793A-556F-0563-082FBB7F6C0E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59C1626-5B3C-BAE3-2C18-B6F1B20061A5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6F008806-B2C5-2DAE-F845-05F4C2E453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1714" y="1477076"/>
            <a:ext cx="4988834" cy="4721530"/>
          </a:xfrm>
          <a:prstGeom prst="rect">
            <a:avLst/>
          </a:prstGeom>
        </p:spPr>
      </p:pic>
      <p:sp>
        <p:nvSpPr>
          <p:cNvPr id="12" name="Text Placeholder 24">
            <a:extLst>
              <a:ext uri="{FF2B5EF4-FFF2-40B4-BE49-F238E27FC236}">
                <a16:creationId xmlns:a16="http://schemas.microsoft.com/office/drawing/2014/main" id="{DB7CA1F2-73ED-0C2A-BB26-DD450B7999C4}"/>
              </a:ext>
            </a:extLst>
          </p:cNvPr>
          <p:cNvSpPr txBox="1">
            <a:spLocks/>
          </p:cNvSpPr>
          <p:nvPr/>
        </p:nvSpPr>
        <p:spPr>
          <a:xfrm>
            <a:off x="9005001" y="1483327"/>
            <a:ext cx="2890570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Gestión OTEC - Asignado OTEC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5C87C208-1E44-430A-04FA-F6E44CEC32D9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. El primer estado que verán es etapa  “Gestión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OTEC”sub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estado “Asignado OTEC”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Eso quiere decir que la oportunidad fue asignada a OTEC según la naturaleza del curso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l tiempo de vigencia es de 01 día hábil para que se asigne a relator o se rechace y se entregue una fecha tentativa de ejecución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cordar que solo se confirma fecha cuando la oportunidad se encuentra asignada a facilitador. </a:t>
            </a:r>
            <a:r>
              <a:rPr kumimoji="0" lang="es-ES" sz="1200" b="0" i="0" u="sng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ntes de eso solo son fechas tentativas, incluso la entregada por la empresa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0BA44BAF-BBC6-FD8C-9352-B37BA5120CBB}"/>
              </a:ext>
            </a:extLst>
          </p:cNvPr>
          <p:cNvSpPr/>
          <p:nvPr/>
        </p:nvSpPr>
        <p:spPr>
          <a:xfrm>
            <a:off x="4303173" y="4807128"/>
            <a:ext cx="1183341" cy="227242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02A34E77-302A-ED80-14B5-3C30E9EBF562}"/>
              </a:ext>
            </a:extLst>
          </p:cNvPr>
          <p:cNvSpPr/>
          <p:nvPr/>
        </p:nvSpPr>
        <p:spPr>
          <a:xfrm>
            <a:off x="1737781" y="2431885"/>
            <a:ext cx="1741248" cy="164592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CE724BF7-DFE4-45CB-8CCA-34C39D7A9303}"/>
              </a:ext>
            </a:extLst>
          </p:cNvPr>
          <p:cNvSpPr/>
          <p:nvPr/>
        </p:nvSpPr>
        <p:spPr>
          <a:xfrm>
            <a:off x="1745664" y="2912735"/>
            <a:ext cx="2043421" cy="243418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090141303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1DF1BE-ACCB-964E-5544-A0711238E2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25B9F42-CD1A-E64D-D439-18C26CD4B5A5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3D12ADE-8969-1C42-B2D1-65025CB1C6F1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EA0889DC-F8E9-05DC-EAD4-7F898EFA1B73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B869B716-C3EB-516E-D737-EFFD5EECBD54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Text Placeholder 25">
            <a:extLst>
              <a:ext uri="{FF2B5EF4-FFF2-40B4-BE49-F238E27FC236}">
                <a16:creationId xmlns:a16="http://schemas.microsoft.com/office/drawing/2014/main" id="{C42FE41C-01D4-4BB3-A9D5-1B835487AC87}"/>
              </a:ext>
            </a:extLst>
          </p:cNvPr>
          <p:cNvSpPr txBox="1">
            <a:spLocks/>
          </p:cNvSpPr>
          <p:nvPr/>
        </p:nvSpPr>
        <p:spPr>
          <a:xfrm>
            <a:off x="8999539" y="2169128"/>
            <a:ext cx="2890570" cy="446432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67EE481F-9DFE-EBC2-8F5C-A1C4EB878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0620" y="2387739"/>
            <a:ext cx="2090395" cy="754047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15E04EC9-B581-D579-5409-745A378D1F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2749" y="1267881"/>
            <a:ext cx="5667375" cy="4772025"/>
          </a:xfrm>
          <a:prstGeom prst="rect">
            <a:avLst/>
          </a:prstGeom>
        </p:spPr>
      </p:pic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E4340B88-0A73-3F4C-A635-1CB81A6F979F}"/>
              </a:ext>
            </a:extLst>
          </p:cNvPr>
          <p:cNvSpPr txBox="1">
            <a:spLocks/>
          </p:cNvSpPr>
          <p:nvPr/>
        </p:nvSpPr>
        <p:spPr>
          <a:xfrm>
            <a:off x="9090413" y="2352570"/>
            <a:ext cx="2954217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2. Esto es cuando OTEC posee disponibilidad de facilitador. 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ste sub estado tiene un tiempo de respuesta de 01 día hábil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OTEC debe enviar correo de confirmación al contacto empresa con los datos del facilitador y del curso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Opcionalmente con copia al experto ACHS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CE72F6B7-7051-58C1-0267-7B6469B04DA3}"/>
              </a:ext>
            </a:extLst>
          </p:cNvPr>
          <p:cNvSpPr txBox="1">
            <a:spLocks/>
          </p:cNvSpPr>
          <p:nvPr/>
        </p:nvSpPr>
        <p:spPr>
          <a:xfrm>
            <a:off x="9090414" y="1699022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Gestión OTEC - Asignado a relator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80CC312C-2681-B3A4-DA5D-573132474A37}"/>
              </a:ext>
            </a:extLst>
          </p:cNvPr>
          <p:cNvSpPr/>
          <p:nvPr/>
        </p:nvSpPr>
        <p:spPr>
          <a:xfrm>
            <a:off x="4159827" y="4633392"/>
            <a:ext cx="1317429" cy="258648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4D740B6D-DF2A-0AE4-03AB-333AB399864B}"/>
              </a:ext>
            </a:extLst>
          </p:cNvPr>
          <p:cNvSpPr/>
          <p:nvPr/>
        </p:nvSpPr>
        <p:spPr>
          <a:xfrm>
            <a:off x="1513127" y="2344396"/>
            <a:ext cx="1825062" cy="225520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22268943-066F-3D0C-E1E8-75ADB2D60A79}"/>
              </a:ext>
            </a:extLst>
          </p:cNvPr>
          <p:cNvSpPr/>
          <p:nvPr/>
        </p:nvSpPr>
        <p:spPr>
          <a:xfrm>
            <a:off x="1513127" y="2961879"/>
            <a:ext cx="1982717" cy="462002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810690364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5C894D-023F-B5EB-9F48-858AA49193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6E62F137-A455-3EE9-AD0C-14144E1DB572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61B29E0-49A5-81A1-599C-C3C1F2459FAA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3DDA250-0616-D189-2A89-81C2252EC3AC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790E0854-A945-1022-B6F8-4AC7FBC84927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83A1E91E-5C71-4CFC-561E-A9C3D0584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7560" y="1135657"/>
            <a:ext cx="5399389" cy="5173662"/>
          </a:xfrm>
          <a:prstGeom prst="rect">
            <a:avLst/>
          </a:prstGeom>
        </p:spPr>
      </p:pic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E2F8166C-533B-411E-59AC-2675892E3D77}"/>
              </a:ext>
            </a:extLst>
          </p:cNvPr>
          <p:cNvSpPr txBox="1">
            <a:spLocks/>
          </p:cNvSpPr>
          <p:nvPr/>
        </p:nvSpPr>
        <p:spPr>
          <a:xfrm>
            <a:off x="9005001" y="1715052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Gestión OTEC - Rechazado OTEC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Text Placeholder 25">
            <a:extLst>
              <a:ext uri="{FF2B5EF4-FFF2-40B4-BE49-F238E27FC236}">
                <a16:creationId xmlns:a16="http://schemas.microsoft.com/office/drawing/2014/main" id="{FCDDD43B-6444-B10C-897D-D87D4C417291}"/>
              </a:ext>
            </a:extLst>
          </p:cNvPr>
          <p:cNvSpPr txBox="1">
            <a:spLocks/>
          </p:cNvSpPr>
          <p:nvPr/>
        </p:nvSpPr>
        <p:spPr>
          <a:xfrm>
            <a:off x="9005001" y="2384360"/>
            <a:ext cx="2737737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3. Otra instancia que se puede generar dentro de la misma etapa “Gestión OTEC” es cuando no se posee disponibilidad de facilitador en la fecha inicial y se rechaza el curso ingresando el sub estado “Rechazado OTEC” entregando fecha(s) tentativa(s)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iene un tiempo de respuesta de 1 día hábil.</a:t>
            </a: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987220E5-A0F3-710A-CEBE-FF90133DAD71}"/>
              </a:ext>
            </a:extLst>
          </p:cNvPr>
          <p:cNvSpPr/>
          <p:nvPr/>
        </p:nvSpPr>
        <p:spPr>
          <a:xfrm>
            <a:off x="4170466" y="4779696"/>
            <a:ext cx="1270214" cy="222072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AC93E99C-367B-5D2B-DBC8-56C163A6E95C}"/>
              </a:ext>
            </a:extLst>
          </p:cNvPr>
          <p:cNvSpPr/>
          <p:nvPr/>
        </p:nvSpPr>
        <p:spPr>
          <a:xfrm>
            <a:off x="1683920" y="2738534"/>
            <a:ext cx="1877614" cy="462002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1258C42E-6AB2-8950-2ECB-3F452169FFBA}"/>
              </a:ext>
            </a:extLst>
          </p:cNvPr>
          <p:cNvSpPr/>
          <p:nvPr/>
        </p:nvSpPr>
        <p:spPr>
          <a:xfrm>
            <a:off x="1683920" y="2173603"/>
            <a:ext cx="1680546" cy="225521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65910911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6438674D-2594-6794-C618-8DFFD4EB5356}"/>
              </a:ext>
            </a:extLst>
          </p:cNvPr>
          <p:cNvSpPr/>
          <p:nvPr/>
        </p:nvSpPr>
        <p:spPr>
          <a:xfrm>
            <a:off x="2830372" y="2303397"/>
            <a:ext cx="6531255" cy="1989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6777">
              <a:spcBef>
                <a:spcPts val="0"/>
              </a:spcBef>
              <a:spcAft>
                <a:spcPts val="200"/>
              </a:spcAft>
              <a:buClr>
                <a:srgbClr val="E9EADD"/>
              </a:buClr>
              <a:tabLst>
                <a:tab pos="178262" algn="l"/>
                <a:tab pos="356525" algn="l"/>
                <a:tab pos="534787" algn="l"/>
              </a:tabLst>
              <a:defRPr/>
            </a:pPr>
            <a:r>
              <a:rPr lang="es-CL" sz="1600">
                <a:solidFill>
                  <a:srgbClr val="15BF45"/>
                </a:solidFill>
                <a:ea typeface="+mn-lt"/>
                <a:cs typeface="Arial" panose="020B0604020202020204"/>
              </a:rPr>
              <a:t>Creación accedo a portal diplomas empresas</a:t>
            </a:r>
            <a:endParaRPr lang="es-CL" sz="1600">
              <a:solidFill>
                <a:srgbClr val="15BF45"/>
              </a:solidFill>
              <a:cs typeface="Arial"/>
            </a:endParaRPr>
          </a:p>
          <a:p>
            <a:pPr marL="285750" indent="-285750" defTabSz="916777">
              <a:spcBef>
                <a:spcPts val="0"/>
              </a:spcBef>
              <a:spcAft>
                <a:spcPts val="200"/>
              </a:spcAft>
              <a:buClr>
                <a:srgbClr val="15BF45"/>
              </a:buClr>
              <a:buFont typeface="Wingdings" panose="05000000000000000000" pitchFamily="2" charset="2"/>
              <a:buChar char="q"/>
              <a:tabLst>
                <a:tab pos="178262" algn="l"/>
                <a:tab pos="356525" algn="l"/>
                <a:tab pos="534787" algn="l"/>
              </a:tabLst>
              <a:defRPr/>
            </a:pPr>
            <a:r>
              <a:rPr lang="es-CL" sz="1600">
                <a:solidFill>
                  <a:srgbClr val="15BF45"/>
                </a:solidFill>
                <a:ea typeface="+mn-lt"/>
                <a:cs typeface="Arial" panose="020B0604020202020204"/>
              </a:rPr>
              <a:t>D</a:t>
            </a:r>
            <a:endParaRPr lang="es-ES" sz="1200">
              <a:solidFill>
                <a:srgbClr val="FFFFFF"/>
              </a:solidFill>
              <a:ea typeface="+mn-lt"/>
              <a:cs typeface="Arial" panose="020B0604020202020204"/>
            </a:endParaRPr>
          </a:p>
          <a:p>
            <a:pPr marL="463550" lvl="1" indent="-285750" defTabSz="916777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ü"/>
              <a:defRPr/>
            </a:pPr>
            <a:r>
              <a:rPr lang="es-ES" sz="1200">
                <a:solidFill>
                  <a:srgbClr val="FFFFFF"/>
                </a:solidFill>
                <a:ea typeface="+mn-lt"/>
                <a:cs typeface="Arial" panose="020B0604020202020204"/>
              </a:rPr>
              <a:t>Como crear una solicitud de curso en Salesforce.</a:t>
            </a:r>
          </a:p>
          <a:p>
            <a:pPr marL="463550" lvl="1" indent="-285750" defTabSz="916777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ü"/>
              <a:defRPr/>
            </a:pPr>
            <a:r>
              <a:rPr lang="es-ES" sz="1200">
                <a:solidFill>
                  <a:srgbClr val="FFFFFF"/>
                </a:solidFill>
                <a:ea typeface="+mn-lt"/>
                <a:cs typeface="Arial" panose="020B0604020202020204"/>
              </a:rPr>
              <a:t>Video explicativo.</a:t>
            </a:r>
          </a:p>
          <a:p>
            <a:pPr marL="463550" lvl="1" indent="-285750" defTabSz="916777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ü"/>
              <a:defRPr/>
            </a:pPr>
            <a:r>
              <a:rPr lang="es-ES" sz="1200">
                <a:solidFill>
                  <a:srgbClr val="FFFFFF"/>
                </a:solidFill>
                <a:ea typeface="+mn-lt"/>
                <a:cs typeface="Arial" panose="020B0604020202020204"/>
              </a:rPr>
              <a:t>Flujo y etapas de cursos.</a:t>
            </a:r>
          </a:p>
          <a:p>
            <a:pPr marL="463550" lvl="1" indent="-285750" defTabSz="916777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ü"/>
              <a:defRPr/>
            </a:pPr>
            <a:r>
              <a:rPr lang="es-ES" sz="1200">
                <a:solidFill>
                  <a:srgbClr val="FFFFFF"/>
                </a:solidFill>
                <a:ea typeface="+mn-lt"/>
                <a:cs typeface="Arial" panose="020B0604020202020204"/>
              </a:rPr>
              <a:t>Modalidades de cursos</a:t>
            </a:r>
          </a:p>
          <a:p>
            <a:pPr marL="463550" lvl="1" indent="-285750" defTabSz="916777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ü"/>
              <a:defRPr/>
            </a:pPr>
            <a:r>
              <a:rPr lang="es-ES" sz="1200">
                <a:solidFill>
                  <a:srgbClr val="FFFFFF"/>
                </a:solidFill>
                <a:ea typeface="+mn-lt"/>
                <a:cs typeface="Arial" panose="020B0604020202020204"/>
              </a:rPr>
              <a:t>Etapas y sub estados de cursos</a:t>
            </a:r>
          </a:p>
          <a:p>
            <a:pPr marL="463550" lvl="1" indent="-285750" defTabSz="916777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ü"/>
              <a:defRPr/>
            </a:pPr>
            <a:r>
              <a:rPr lang="es-ES" sz="1200">
                <a:solidFill>
                  <a:srgbClr val="FFFFFF"/>
                </a:solidFill>
                <a:ea typeface="+mn-lt"/>
                <a:cs typeface="Arial" panose="020B0604020202020204"/>
              </a:rPr>
              <a:t>Visibilidad de cuotas disponibles para la creación de Oportunidad.</a:t>
            </a:r>
            <a:r>
              <a:rPr lang="es-CL" sz="1600">
                <a:solidFill>
                  <a:srgbClr val="15BF45"/>
                </a:solidFill>
                <a:cs typeface="Arial" panose="020B0604020202020204"/>
              </a:rPr>
              <a:t>Descarga diplomas en Portal Participant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B9A0F34-8F6C-5FE7-B533-FEFF293A587E}"/>
              </a:ext>
            </a:extLst>
          </p:cNvPr>
          <p:cNvSpPr txBox="1">
            <a:spLocks/>
          </p:cNvSpPr>
          <p:nvPr/>
        </p:nvSpPr>
        <p:spPr>
          <a:xfrm>
            <a:off x="1027453" y="974174"/>
            <a:ext cx="8587739" cy="450589"/>
          </a:xfrm>
          <a:prstGeom prst="rect">
            <a:avLst/>
          </a:prstGeom>
        </p:spPr>
        <p:txBody>
          <a:bodyPr vert="horz" lIns="0" tIns="0" rIns="0" bIns="0" anchor="t"/>
          <a:lstStyle>
            <a:lvl1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6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72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8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44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pacitaciones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C802FED-5534-F344-431C-8E635E3D4AAF}"/>
              </a:ext>
            </a:extLst>
          </p:cNvPr>
          <p:cNvSpPr txBox="1">
            <a:spLocks/>
          </p:cNvSpPr>
          <p:nvPr/>
        </p:nvSpPr>
        <p:spPr>
          <a:xfrm>
            <a:off x="1104456" y="1786621"/>
            <a:ext cx="7367850" cy="586873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5400" b="0" i="0" u="none" strike="noStrike" cap="none" spc="0" baseline="0">
                <a:solidFill>
                  <a:schemeClr val="tx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QUIPO DE ATENCIÓN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5183479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DBD970-4D69-B287-C2DF-D7109F5521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AD238E1-D01E-3EC6-118F-B5FB79D92A55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F922484-D922-B0C1-580E-115137306CBE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05BAEE49-41FD-B3F2-7D47-E24871CDFFBE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7AF31813-08DE-7322-C71B-765EAD67406A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Marcador de posición de imagen 36" descr="Interfaz de usuario gráfica, Texto, Aplicación, Correo electrónico&#10;&#10;Descripción generada automáticamente">
            <a:extLst>
              <a:ext uri="{FF2B5EF4-FFF2-40B4-BE49-F238E27FC236}">
                <a16:creationId xmlns:a16="http://schemas.microsoft.com/office/drawing/2014/main" id="{9F34FDC8-BF5A-2129-4288-A42C1E6C0A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" b="2591"/>
          <a:stretch/>
        </p:blipFill>
        <p:spPr>
          <a:xfrm>
            <a:off x="1358592" y="1360542"/>
            <a:ext cx="5413138" cy="5025975"/>
          </a:xfrm>
          <a:prstGeom prst="rect">
            <a:avLst/>
          </a:prstGeom>
        </p:spPr>
      </p:pic>
      <p:sp>
        <p:nvSpPr>
          <p:cNvPr id="4" name="Text Placeholder 25">
            <a:extLst>
              <a:ext uri="{FF2B5EF4-FFF2-40B4-BE49-F238E27FC236}">
                <a16:creationId xmlns:a16="http://schemas.microsoft.com/office/drawing/2014/main" id="{DBCB469A-AD57-AD97-2B91-B97E7606C485}"/>
              </a:ext>
            </a:extLst>
          </p:cNvPr>
          <p:cNvSpPr txBox="1">
            <a:spLocks/>
          </p:cNvSpPr>
          <p:nvPr/>
        </p:nvSpPr>
        <p:spPr>
          <a:xfrm>
            <a:off x="9094275" y="2384360"/>
            <a:ext cx="2950356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Arial" panose="020B0604020202020204" pitchFamily="34" charset="0"/>
                <a:sym typeface="Arial"/>
              </a:rPr>
              <a:t>4. </a:t>
            </a: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Arial" panose="020B0604020202020204" pitchFamily="34" charset="0"/>
                <a:sym typeface="Arial"/>
              </a:rPr>
              <a:t>Este sub estado aplica cuando un curso se encuentra en estado "Rechazado OTEC" debido a la entrega de fechas tentativas, y posteriormente es derivado nuevamente al mismo OTEC. Si la nueva fecha tentativa coincide con la registrada en Oportunidad, el curso se considerará confirmado dentro de plazo.</a:t>
            </a: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Marcador de texto 1">
            <a:extLst>
              <a:ext uri="{FF2B5EF4-FFF2-40B4-BE49-F238E27FC236}">
                <a16:creationId xmlns:a16="http://schemas.microsoft.com/office/drawing/2014/main" id="{A9B37E85-ACDD-B2E5-8D51-CEC366DCDF63}"/>
              </a:ext>
            </a:extLst>
          </p:cNvPr>
          <p:cNvSpPr txBox="1">
            <a:spLocks/>
          </p:cNvSpPr>
          <p:nvPr/>
        </p:nvSpPr>
        <p:spPr>
          <a:xfrm>
            <a:off x="9094274" y="1499819"/>
            <a:ext cx="2441306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Gestión OTEC - </a:t>
            </a:r>
            <a:r>
              <a:rPr kumimoji="0" lang="es-CL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asignado OTEC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D83FF7DE-ADCC-DF43-D841-4046B1A08747}"/>
              </a:ext>
            </a:extLst>
          </p:cNvPr>
          <p:cNvSpPr/>
          <p:nvPr/>
        </p:nvSpPr>
        <p:spPr>
          <a:xfrm>
            <a:off x="4213598" y="5005766"/>
            <a:ext cx="1183341" cy="227242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DB314845-2B00-787B-6E07-0B49490D17F7}"/>
              </a:ext>
            </a:extLst>
          </p:cNvPr>
          <p:cNvSpPr/>
          <p:nvPr/>
        </p:nvSpPr>
        <p:spPr>
          <a:xfrm>
            <a:off x="1565678" y="2738534"/>
            <a:ext cx="1772511" cy="238658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B3E4C393-8E23-07FD-39BC-AB96B9F79C84}"/>
              </a:ext>
            </a:extLst>
          </p:cNvPr>
          <p:cNvSpPr/>
          <p:nvPr/>
        </p:nvSpPr>
        <p:spPr>
          <a:xfrm>
            <a:off x="1565678" y="2173603"/>
            <a:ext cx="1772511" cy="238658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086789081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FF1095-43B9-A7D2-12E0-3A56A5AA88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3D933BFB-A764-4A82-D42E-FCEE522EABBD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519D577-030E-CBA2-213E-692397CCA2E8}"/>
              </a:ext>
            </a:extLst>
          </p:cNvPr>
          <p:cNvSpPr txBox="1"/>
          <p:nvPr/>
        </p:nvSpPr>
        <p:spPr>
          <a:xfrm>
            <a:off x="142754" y="386324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E804748-48AF-6FDE-289F-FE52C3FDEF18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D2151B51-9991-C0A9-7B8C-E10D5FFFFE05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FE71F549-8B52-8A04-AA20-C6930C9A83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4354" y="1180682"/>
            <a:ext cx="5581650" cy="5190016"/>
          </a:xfrm>
          <a:prstGeom prst="rect">
            <a:avLst/>
          </a:prstGeom>
        </p:spPr>
      </p:pic>
      <p:sp>
        <p:nvSpPr>
          <p:cNvPr id="4" name="Text Placeholder 25">
            <a:extLst>
              <a:ext uri="{FF2B5EF4-FFF2-40B4-BE49-F238E27FC236}">
                <a16:creationId xmlns:a16="http://schemas.microsoft.com/office/drawing/2014/main" id="{30E6F310-F481-1575-CF10-9E1CF94F0A6D}"/>
              </a:ext>
            </a:extLst>
          </p:cNvPr>
          <p:cNvSpPr txBox="1">
            <a:spLocks/>
          </p:cNvSpPr>
          <p:nvPr/>
        </p:nvSpPr>
        <p:spPr>
          <a:xfrm>
            <a:off x="9144000" y="2384360"/>
            <a:ext cx="2766645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5.Puede que surja otro estado que es visado por el supervisor(a) del área de capacitaciones cuando se requieren mayores gastos por parte de OTEC para ejecutar el curso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sta puede ser aceptada o rechazada por la jefatura de capacitaciones. E ahí la recomendación que se realiza a OTEC de buscar  facilitadores en la zona a desarrollar el curso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ste estado no compromete comentarios ni acciones tanto de el Experto ACHS como del contacto empresa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Text Placeholder 24">
            <a:extLst>
              <a:ext uri="{FF2B5EF4-FFF2-40B4-BE49-F238E27FC236}">
                <a16:creationId xmlns:a16="http://schemas.microsoft.com/office/drawing/2014/main" id="{7A5DA1AD-CEB4-4059-C7B5-9B34BF041469}"/>
              </a:ext>
            </a:extLst>
          </p:cNvPr>
          <p:cNvSpPr txBox="1">
            <a:spLocks/>
          </p:cNvSpPr>
          <p:nvPr/>
        </p:nvSpPr>
        <p:spPr>
          <a:xfrm>
            <a:off x="9144001" y="1715052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Gestión OTEC - Gastos por aprobar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6162FADD-C6FB-A064-1CCE-F73DB7E20197}"/>
              </a:ext>
            </a:extLst>
          </p:cNvPr>
          <p:cNvSpPr/>
          <p:nvPr/>
        </p:nvSpPr>
        <p:spPr>
          <a:xfrm>
            <a:off x="4440333" y="4743120"/>
            <a:ext cx="1402683" cy="249504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33F818B6-0C04-C437-8562-266992928569}"/>
              </a:ext>
            </a:extLst>
          </p:cNvPr>
          <p:cNvSpPr/>
          <p:nvPr/>
        </p:nvSpPr>
        <p:spPr>
          <a:xfrm>
            <a:off x="1736472" y="2230910"/>
            <a:ext cx="1875408" cy="237969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8EDAE207-DB1D-7131-9C8D-E62D16D4876C}"/>
              </a:ext>
            </a:extLst>
          </p:cNvPr>
          <p:cNvSpPr/>
          <p:nvPr/>
        </p:nvSpPr>
        <p:spPr>
          <a:xfrm>
            <a:off x="1736472" y="2791086"/>
            <a:ext cx="1719959" cy="462002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517866172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FEE331-06DB-A33D-FF6A-5D0D7AC627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2DFB8E97-35D6-38D1-6A0A-58E2307704BA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A6BCC0FF-EBFB-8F0F-2D4B-E93FC3C7934A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3134709-DFEC-AEE1-CF09-D451EDD241EE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0D587875-C886-509B-4D2D-5A8C5A5B31FA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Imagen 1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DC7270B2-8234-25BC-71A1-7663951076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2560" y="1196279"/>
            <a:ext cx="4846540" cy="4874308"/>
          </a:xfrm>
          <a:prstGeom prst="rect">
            <a:avLst/>
          </a:prstGeom>
        </p:spPr>
      </p:pic>
      <p:sp>
        <p:nvSpPr>
          <p:cNvPr id="5" name="Marcador de texto 1">
            <a:extLst>
              <a:ext uri="{FF2B5EF4-FFF2-40B4-BE49-F238E27FC236}">
                <a16:creationId xmlns:a16="http://schemas.microsoft.com/office/drawing/2014/main" id="{78C89BB8-0957-34E2-2A14-FC3A28EC50F1}"/>
              </a:ext>
            </a:extLst>
          </p:cNvPr>
          <p:cNvSpPr txBox="1">
            <a:spLocks/>
          </p:cNvSpPr>
          <p:nvPr/>
        </p:nvSpPr>
        <p:spPr>
          <a:xfrm>
            <a:off x="9005001" y="1409837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Gestión OTEC - Gasto Aprobado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CC4A7297-CA87-7A20-B0FE-4C41FDD2576A}"/>
              </a:ext>
            </a:extLst>
          </p:cNvPr>
          <p:cNvSpPr txBox="1">
            <a:spLocks/>
          </p:cNvSpPr>
          <p:nvPr/>
        </p:nvSpPr>
        <p:spPr>
          <a:xfrm>
            <a:off x="9005001" y="2263697"/>
            <a:ext cx="3039630" cy="38068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Calibri" panose="020F0502020204030204" pitchFamily="34" charset="0"/>
                <a:sym typeface="Arial"/>
              </a:rPr>
              <a:t>6. 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Calibri" panose="020F0502020204030204" pitchFamily="34" charset="0"/>
                <a:sym typeface="Arial"/>
              </a:rPr>
              <a:t>Este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Calibri" panose="020F0502020204030204" pitchFamily="34" charset="0"/>
                <a:sym typeface="Arial"/>
              </a:rPr>
              <a:t>subestado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Calibri" panose="020F0502020204030204" pitchFamily="34" charset="0"/>
                <a:sym typeface="Arial"/>
              </a:rPr>
              <a:t> se utilizará cuando el equipo de Operaciones de Capacitación revisa y aprueba el gasto de traslado indicado por OTEC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Calibri" panose="020F0502020204030204" pitchFamily="34" charset="0"/>
                <a:sym typeface="Arial"/>
              </a:rPr>
              <a:t>Una vez que el curso se encuentra en el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Calibri" panose="020F0502020204030204" pitchFamily="34" charset="0"/>
                <a:sym typeface="Arial"/>
              </a:rPr>
              <a:t>subestado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Calibri" panose="020F0502020204030204" pitchFamily="34" charset="0"/>
                <a:sym typeface="Arial"/>
              </a:rPr>
              <a:t> "Gasto Aprobado",  OTEC tiene la obligación de dejar el curso en “Asignado a relator” el mismo día en que el gasto fue aprobado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Calibri" panose="020F0502020204030204" pitchFamily="34" charset="0"/>
                <a:sym typeface="Arial"/>
              </a:rPr>
              <a:t>Este procedimiento asegura que los tiempos operativos se respeten y que el curso avance en el proceso sin demoras.</a:t>
            </a:r>
            <a:endParaRPr kumimoji="0" lang="es-CL" sz="12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324F35D6-95DC-BA39-230D-3C804110ACA8}"/>
              </a:ext>
            </a:extLst>
          </p:cNvPr>
          <p:cNvSpPr/>
          <p:nvPr/>
        </p:nvSpPr>
        <p:spPr>
          <a:xfrm>
            <a:off x="4023360" y="4507992"/>
            <a:ext cx="1135811" cy="188050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654E4328-929C-16EF-B80B-AB7B2AD91840}"/>
              </a:ext>
            </a:extLst>
          </p:cNvPr>
          <p:cNvSpPr/>
          <p:nvPr/>
        </p:nvSpPr>
        <p:spPr>
          <a:xfrm>
            <a:off x="1645920" y="1911096"/>
            <a:ext cx="1517904" cy="164592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83365F5F-DC02-4351-479B-ED59679014C0}"/>
              </a:ext>
            </a:extLst>
          </p:cNvPr>
          <p:cNvSpPr/>
          <p:nvPr/>
        </p:nvSpPr>
        <p:spPr>
          <a:xfrm>
            <a:off x="1645920" y="2380488"/>
            <a:ext cx="1517904" cy="164592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769585450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231414-9C6E-180A-4B85-E863E2F1C3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6D650B09-4CF2-0723-FA5F-8807719929E6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35D2BC6B-2E6A-50E8-577E-18AAB52D2965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6C00102E-CAB0-4D29-F1C7-5F05F31A1C06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D3D8BF4E-D539-6795-5E82-9E070B163F20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Imagen 1" descr="Interfaz de usuario gráfica, Aplicación, Correo electrónico&#10;&#10;Descripción generada automáticamente">
            <a:extLst>
              <a:ext uri="{FF2B5EF4-FFF2-40B4-BE49-F238E27FC236}">
                <a16:creationId xmlns:a16="http://schemas.microsoft.com/office/drawing/2014/main" id="{FCEDECCF-FCD4-42E6-F530-77B091213B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02"/>
          <a:stretch/>
        </p:blipFill>
        <p:spPr>
          <a:xfrm>
            <a:off x="1195495" y="1212877"/>
            <a:ext cx="5655729" cy="4978678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EE84A54-0D3F-0EC1-E129-B6C72F93EB69}"/>
              </a:ext>
            </a:extLst>
          </p:cNvPr>
          <p:cNvSpPr txBox="1">
            <a:spLocks/>
          </p:cNvSpPr>
          <p:nvPr/>
        </p:nvSpPr>
        <p:spPr>
          <a:xfrm>
            <a:off x="9005001" y="2464420"/>
            <a:ext cx="3039630" cy="3575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7. Este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ubestado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se aplica cuando los equipos de atención, actuando en representación de la empresa, solicitan una modificación en la fecha u horario de una capacitación que ya se encuentra en el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ubestado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"Asignado a Relator", siempre dentro de los plazos establecidos. 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l OTEC contará con un plazo máximo de 24 horas para informar. </a:t>
            </a:r>
            <a:endParaRPr kumimoji="0" lang="es-CL" sz="12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Marcador de texto 1">
            <a:extLst>
              <a:ext uri="{FF2B5EF4-FFF2-40B4-BE49-F238E27FC236}">
                <a16:creationId xmlns:a16="http://schemas.microsoft.com/office/drawing/2014/main" id="{A9212776-5EF5-4E0A-C218-FA12B5F45BCF}"/>
              </a:ext>
            </a:extLst>
          </p:cNvPr>
          <p:cNvSpPr txBox="1">
            <a:spLocks/>
          </p:cNvSpPr>
          <p:nvPr/>
        </p:nvSpPr>
        <p:spPr>
          <a:xfrm>
            <a:off x="9005001" y="1725376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Gestión OTEC - </a:t>
            </a:r>
            <a:r>
              <a:rPr kumimoji="0" lang="es-CL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Arial" panose="020B0604020202020204" pitchFamily="34" charset="0"/>
                <a:sym typeface="Arial"/>
              </a:rPr>
              <a:t>Curso</a:t>
            </a:r>
            <a:r>
              <a:rPr kumimoji="0" lang="es-CL" sz="14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es-CL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Arial" panose="020B0604020202020204" pitchFamily="34" charset="0"/>
                <a:sym typeface="Arial"/>
              </a:rPr>
              <a:t>en</a:t>
            </a:r>
            <a:r>
              <a:rPr kumimoji="0" lang="es-CL" sz="14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es-CL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Arial" panose="020B0604020202020204" pitchFamily="34" charset="0"/>
                <a:sym typeface="Arial"/>
              </a:rPr>
              <a:t>reprogramación</a:t>
            </a:r>
            <a:endParaRPr kumimoji="0" lang="es-CL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5A96D2E3-C36A-E880-F3CC-75C7799E53B2}"/>
              </a:ext>
            </a:extLst>
          </p:cNvPr>
          <p:cNvSpPr/>
          <p:nvPr/>
        </p:nvSpPr>
        <p:spPr>
          <a:xfrm>
            <a:off x="1435608" y="2169127"/>
            <a:ext cx="1517904" cy="164592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870C2ACE-C0F1-BC51-8CF0-DC888220BC93}"/>
              </a:ext>
            </a:extLst>
          </p:cNvPr>
          <p:cNvSpPr/>
          <p:nvPr/>
        </p:nvSpPr>
        <p:spPr>
          <a:xfrm>
            <a:off x="1433739" y="2640000"/>
            <a:ext cx="2159853" cy="360282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E2729B5B-51C6-C5C9-2251-3884CD325B3C}"/>
              </a:ext>
            </a:extLst>
          </p:cNvPr>
          <p:cNvSpPr/>
          <p:nvPr/>
        </p:nvSpPr>
        <p:spPr>
          <a:xfrm>
            <a:off x="4142232" y="4745736"/>
            <a:ext cx="1554480" cy="228600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233283094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F772BF-2F83-6034-A3D8-3215019416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E0E01EB-E0AA-9F04-73FE-47198AF2F334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32D48125-8622-DDB7-D9E2-FFE3703CB3C7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E50E6404-3C83-DC47-9907-7AB2F3B67322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53A7D7AA-72DE-5201-DEBF-796C45A87CA6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32572544-9620-A125-B916-BF7DCA6223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656" y="1458686"/>
            <a:ext cx="4198218" cy="3885660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DA9A4481-2829-D0CA-49E0-C37F02F23E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009" y="1311850"/>
            <a:ext cx="4356865" cy="4032496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1D5F54FE-8FAF-F984-4257-28EEF94D1D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5055" y="1458686"/>
            <a:ext cx="3972752" cy="3885661"/>
          </a:xfrm>
          <a:prstGeom prst="rect">
            <a:avLst/>
          </a:prstGeom>
        </p:spPr>
      </p:pic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836C5561-4175-941A-3FBA-9975ADC21E42}"/>
              </a:ext>
            </a:extLst>
          </p:cNvPr>
          <p:cNvSpPr txBox="1">
            <a:spLocks/>
          </p:cNvSpPr>
          <p:nvPr/>
        </p:nvSpPr>
        <p:spPr>
          <a:xfrm>
            <a:off x="9137307" y="2169127"/>
            <a:ext cx="2891684" cy="3870778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 dirty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8. Posteriormente se focaliza el curso y para el sistema existen dos estados. 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 dirty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tapa  “Gestión OTEC”, sub estado “Focalización exitosa” cuando se contactan con empresa y “Focalización fallida” cuando sucede lo contrario o hay inconsistencias en la misma.</a:t>
            </a:r>
            <a:endParaRPr lang="es-ES" sz="1200" b="0" i="0" u="none" strike="noStrike" kern="0" cap="none" spc="0" normalizeH="0" baseline="0" noProof="0" dirty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 dirty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ste paso tiene un tiempo de realización por parte de OTEC de 03 a 05 días hábiles, posterior a la confirmación del curso.</a:t>
            </a:r>
            <a:endParaRPr kumimoji="0" lang="x-none" sz="1200" b="0" i="0" u="none" strike="noStrike" kern="0" cap="none" spc="0" normalizeH="0" baseline="0" noProof="0" dirty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2" name="Text Placeholder 24">
            <a:extLst>
              <a:ext uri="{FF2B5EF4-FFF2-40B4-BE49-F238E27FC236}">
                <a16:creationId xmlns:a16="http://schemas.microsoft.com/office/drawing/2014/main" id="{7FD1CF52-8FF2-6CD9-FAC2-8FD1314EE9EB}"/>
              </a:ext>
            </a:extLst>
          </p:cNvPr>
          <p:cNvSpPr txBox="1">
            <a:spLocks/>
          </p:cNvSpPr>
          <p:nvPr/>
        </p:nvSpPr>
        <p:spPr>
          <a:xfrm>
            <a:off x="9137307" y="1458686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Gestión OTEC - Focalización Exitosa o fallida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E8DFF310-859A-BFE3-F1CF-B7605AC6B84E}"/>
              </a:ext>
            </a:extLst>
          </p:cNvPr>
          <p:cNvSpPr/>
          <p:nvPr/>
        </p:nvSpPr>
        <p:spPr>
          <a:xfrm>
            <a:off x="2400938" y="4104516"/>
            <a:ext cx="1135811" cy="188050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398FFA4A-4788-983C-01AA-17B5E88320DF}"/>
              </a:ext>
            </a:extLst>
          </p:cNvPr>
          <p:cNvSpPr/>
          <p:nvPr/>
        </p:nvSpPr>
        <p:spPr>
          <a:xfrm>
            <a:off x="6631431" y="4213240"/>
            <a:ext cx="1135811" cy="188050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D23DAFB0-4314-D6E7-54A5-19779EC21EFE}"/>
              </a:ext>
            </a:extLst>
          </p:cNvPr>
          <p:cNvSpPr/>
          <p:nvPr/>
        </p:nvSpPr>
        <p:spPr>
          <a:xfrm>
            <a:off x="317575" y="2173603"/>
            <a:ext cx="1536028" cy="120417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152D4D63-D036-3FB2-F0C8-5C609D1A36C4}"/>
              </a:ext>
            </a:extLst>
          </p:cNvPr>
          <p:cNvSpPr/>
          <p:nvPr/>
        </p:nvSpPr>
        <p:spPr>
          <a:xfrm>
            <a:off x="317575" y="2620292"/>
            <a:ext cx="1654269" cy="278072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5C3FDAC8-4F1B-7321-C3EF-7E6427D292FC}"/>
              </a:ext>
            </a:extLst>
          </p:cNvPr>
          <p:cNvSpPr/>
          <p:nvPr/>
        </p:nvSpPr>
        <p:spPr>
          <a:xfrm>
            <a:off x="4639954" y="2488913"/>
            <a:ext cx="1457201" cy="619658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3DD62A6B-CA0C-39C9-A9CA-C4D32FE0AD2F}"/>
              </a:ext>
            </a:extLst>
          </p:cNvPr>
          <p:cNvSpPr/>
          <p:nvPr/>
        </p:nvSpPr>
        <p:spPr>
          <a:xfrm>
            <a:off x="4639954" y="2107912"/>
            <a:ext cx="1536028" cy="120417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659205892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E6CB13-DD87-D514-40C8-595CF4D467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C92687A-D332-372D-BDB0-B1649260AB66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97AB8BDE-ADCB-CE94-B811-91197329DD08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6CBF5407-084C-B5E2-481F-3275BEEC0A63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48476B00-BABA-E9A4-9FE1-F9F27355E0BE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FA30197F-AE02-A98F-5E8B-C28826CB59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4354" y="1171585"/>
            <a:ext cx="4795567" cy="4632453"/>
          </a:xfrm>
          <a:prstGeom prst="rect">
            <a:avLst/>
          </a:prstGeom>
        </p:spPr>
      </p:pic>
      <p:sp>
        <p:nvSpPr>
          <p:cNvPr id="4" name="Text Placeholder 25">
            <a:extLst>
              <a:ext uri="{FF2B5EF4-FFF2-40B4-BE49-F238E27FC236}">
                <a16:creationId xmlns:a16="http://schemas.microsoft.com/office/drawing/2014/main" id="{45D32379-3923-8A5B-0671-C7566EA0A411}"/>
              </a:ext>
            </a:extLst>
          </p:cNvPr>
          <p:cNvSpPr txBox="1">
            <a:spLocks/>
          </p:cNvSpPr>
          <p:nvPr/>
        </p:nvSpPr>
        <p:spPr>
          <a:xfrm>
            <a:off x="9005001" y="1815637"/>
            <a:ext cx="3039630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9. El día de realización del curso, se actualiza el estado por parte de OTEC. 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tapa  “Ejecución”, sub estado “Curso en ejecución”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s importante que OTEC actualice la etapa y sub estado ya que por actualizaciones de Salesforce deben pasar por las etapas mencionadas para que así no haya incidencias con los estados posteriores.</a:t>
            </a:r>
            <a:endParaRPr kumimoji="0" lang="x-none" sz="12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Text Placeholder 24">
            <a:extLst>
              <a:ext uri="{FF2B5EF4-FFF2-40B4-BE49-F238E27FC236}">
                <a16:creationId xmlns:a16="http://schemas.microsoft.com/office/drawing/2014/main" id="{FC3E44A5-F3AE-5350-0192-B8CF26DE3C92}"/>
              </a:ext>
            </a:extLst>
          </p:cNvPr>
          <p:cNvSpPr txBox="1">
            <a:spLocks/>
          </p:cNvSpPr>
          <p:nvPr/>
        </p:nvSpPr>
        <p:spPr>
          <a:xfrm>
            <a:off x="9005001" y="117158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jecución - Curso en ejecución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EE74C499-78E3-A83E-9568-BED52F1CCA64}"/>
              </a:ext>
            </a:extLst>
          </p:cNvPr>
          <p:cNvSpPr/>
          <p:nvPr/>
        </p:nvSpPr>
        <p:spPr>
          <a:xfrm>
            <a:off x="4041648" y="4489704"/>
            <a:ext cx="1135811" cy="188050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8C67C202-B2FB-C0FF-E0E9-CE0827189F20}"/>
              </a:ext>
            </a:extLst>
          </p:cNvPr>
          <p:cNvSpPr/>
          <p:nvPr/>
        </p:nvSpPr>
        <p:spPr>
          <a:xfrm>
            <a:off x="1644506" y="2173603"/>
            <a:ext cx="1536028" cy="120417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E15A0BBE-2CB1-5885-4E5D-A7A4AA42D18E}"/>
              </a:ext>
            </a:extLst>
          </p:cNvPr>
          <p:cNvSpPr/>
          <p:nvPr/>
        </p:nvSpPr>
        <p:spPr>
          <a:xfrm>
            <a:off x="1644506" y="2580879"/>
            <a:ext cx="1890752" cy="343761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629561636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7561CC-0BA6-9A1B-41D7-B10F6B37AD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7678755-8C8C-02FD-B1D8-B6030092DEE5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3A3BA8CC-4D84-4118-B74E-2A08DFDEA5FC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8DA9E9E-90AC-24C8-A67B-550CF408AB87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E04F3D79-1D76-D9AD-C318-08A7EFE88B42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D12E7399-C24D-86F6-4B2A-137B081880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5236" y="1333312"/>
            <a:ext cx="4470763" cy="4524443"/>
          </a:xfrm>
          <a:prstGeom prst="rect">
            <a:avLst/>
          </a:prstGeom>
        </p:spPr>
      </p:pic>
      <p:sp>
        <p:nvSpPr>
          <p:cNvPr id="6" name="Text Placeholder 25">
            <a:extLst>
              <a:ext uri="{FF2B5EF4-FFF2-40B4-BE49-F238E27FC236}">
                <a16:creationId xmlns:a16="http://schemas.microsoft.com/office/drawing/2014/main" id="{4D403197-AC59-5414-D248-748913898CD8}"/>
              </a:ext>
            </a:extLst>
          </p:cNvPr>
          <p:cNvSpPr txBox="1">
            <a:spLocks/>
          </p:cNvSpPr>
          <p:nvPr/>
        </p:nvSpPr>
        <p:spPr>
          <a:xfrm>
            <a:off x="9005000" y="1856821"/>
            <a:ext cx="2940815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0. Posterior a la ejecución del curso, OTEC debe enviar el listado con notas, asistencia y datos de los participantes para que el equipo de operaciones cargue los datos en sistema. 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l plazo de envío es de 02 días hábiles posterior a la realización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ste estado no compromete comentarios ni acciones tanto de el Experto ACHS como del contacto empresa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BDD828AA-D04B-9247-B3AB-09EEC4D8AF44}"/>
              </a:ext>
            </a:extLst>
          </p:cNvPr>
          <p:cNvSpPr txBox="1">
            <a:spLocks/>
          </p:cNvSpPr>
          <p:nvPr/>
        </p:nvSpPr>
        <p:spPr>
          <a:xfrm>
            <a:off x="9005001" y="1332247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jecución – Cierre relator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E2976F86-A87F-634E-9FCC-5ADC952854A2}"/>
              </a:ext>
            </a:extLst>
          </p:cNvPr>
          <p:cNvSpPr/>
          <p:nvPr/>
        </p:nvSpPr>
        <p:spPr>
          <a:xfrm>
            <a:off x="1802161" y="2173603"/>
            <a:ext cx="1549165" cy="146692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CD43419E-54CB-C345-4771-F501555512B1}"/>
              </a:ext>
            </a:extLst>
          </p:cNvPr>
          <p:cNvSpPr/>
          <p:nvPr/>
        </p:nvSpPr>
        <p:spPr>
          <a:xfrm>
            <a:off x="1631368" y="2685982"/>
            <a:ext cx="1877614" cy="356899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Rectángulo: esquinas redondeadas 15">
            <a:extLst>
              <a:ext uri="{FF2B5EF4-FFF2-40B4-BE49-F238E27FC236}">
                <a16:creationId xmlns:a16="http://schemas.microsoft.com/office/drawing/2014/main" id="{E6C2E3CA-16B0-BD10-0887-39A0AE3B9945}"/>
              </a:ext>
            </a:extLst>
          </p:cNvPr>
          <p:cNvSpPr/>
          <p:nvPr/>
        </p:nvSpPr>
        <p:spPr>
          <a:xfrm>
            <a:off x="3975433" y="4536580"/>
            <a:ext cx="1243584" cy="192024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413781825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5B5065-FF89-F129-79D5-1C40F8D0B1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762C96B-C81E-E7C0-9E4D-45F9FAC7E332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FF404B1E-459A-7E29-8B65-BC84F6EF8974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AAF4D4B-BA72-91BF-41D5-70E263F2568A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1D185BE3-B11D-6F48-E2C8-06C1EC8EB50A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Marcador de contenido 8">
            <a:extLst>
              <a:ext uri="{FF2B5EF4-FFF2-40B4-BE49-F238E27FC236}">
                <a16:creationId xmlns:a16="http://schemas.microsoft.com/office/drawing/2014/main" id="{E7B8ED1C-9E7B-DEFE-D8A1-FFA03CC455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871" y="1193511"/>
            <a:ext cx="5061822" cy="4826894"/>
          </a:xfrm>
          <a:prstGeom prst="rect">
            <a:avLst/>
          </a:prstGeom>
        </p:spPr>
      </p:pic>
      <p:sp>
        <p:nvSpPr>
          <p:cNvPr id="4" name="Text Placeholder 25">
            <a:extLst>
              <a:ext uri="{FF2B5EF4-FFF2-40B4-BE49-F238E27FC236}">
                <a16:creationId xmlns:a16="http://schemas.microsoft.com/office/drawing/2014/main" id="{4578EB8A-C6F1-C63D-84B6-0473B6DED551}"/>
              </a:ext>
            </a:extLst>
          </p:cNvPr>
          <p:cNvSpPr txBox="1">
            <a:spLocks/>
          </p:cNvSpPr>
          <p:nvPr/>
        </p:nvSpPr>
        <p:spPr>
          <a:xfrm>
            <a:off x="9137307" y="1793711"/>
            <a:ext cx="2907324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1. Este estado corresponde al final del ciclo de la solicitud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so quiere decir que ya se encuentran disponibles los certificados de los participantes e informe en </a:t>
            </a:r>
            <a:r>
              <a:rPr kumimoji="0" lang="es-CL" sz="12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iplomas.achs.cl</a:t>
            </a:r>
            <a:r>
              <a:rPr kumimoji="0" lang="es-ES" sz="12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evio registro tanto para el Experto ACHS asignado a la empresa y para la contraparte  encargada en la organización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i tuviesen incidencias o anomalías pueden pedir regularizar en la casilla de soporte diplomas@achs.cl la cual posee un 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lazo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de respuesta de 01 día hábil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  <a:hlinkClick r:id="" action="ppaction://noaction"/>
            </a:endParaRP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  <a:hlinkClick r:id="" action="ppaction://noaction"/>
              </a:rPr>
              <a:t>ciones-achs.everfactor.cl/</a:t>
            </a: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Text Placeholder 24">
            <a:extLst>
              <a:ext uri="{FF2B5EF4-FFF2-40B4-BE49-F238E27FC236}">
                <a16:creationId xmlns:a16="http://schemas.microsoft.com/office/drawing/2014/main" id="{D1A9D987-B373-EBF6-CEB1-693F0800B1C2}"/>
              </a:ext>
            </a:extLst>
          </p:cNvPr>
          <p:cNvSpPr txBox="1">
            <a:spLocks/>
          </p:cNvSpPr>
          <p:nvPr/>
        </p:nvSpPr>
        <p:spPr>
          <a:xfrm>
            <a:off x="9137307" y="1193511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ierre – Entrega de Diplomas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85110916-88C4-9B9E-2F6A-C997CD43BC94}"/>
              </a:ext>
            </a:extLst>
          </p:cNvPr>
          <p:cNvSpPr/>
          <p:nvPr/>
        </p:nvSpPr>
        <p:spPr>
          <a:xfrm>
            <a:off x="4133088" y="4562856"/>
            <a:ext cx="1243584" cy="192024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8325F22B-2617-02CE-0697-046A7CD0D70D}"/>
              </a:ext>
            </a:extLst>
          </p:cNvPr>
          <p:cNvSpPr/>
          <p:nvPr/>
        </p:nvSpPr>
        <p:spPr>
          <a:xfrm>
            <a:off x="1644506" y="2173603"/>
            <a:ext cx="1798786" cy="251796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1A18B7FF-FA9E-D6D1-0237-801A6C7A64F6}"/>
              </a:ext>
            </a:extLst>
          </p:cNvPr>
          <p:cNvSpPr/>
          <p:nvPr/>
        </p:nvSpPr>
        <p:spPr>
          <a:xfrm>
            <a:off x="1605092" y="2764810"/>
            <a:ext cx="1838200" cy="370037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19914478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BEBAD8-4C99-4172-54F1-7C43D1F400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BAAC431-3B06-ED5A-1C79-75261F6411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BAAC431-3B06-ED5A-1C79-75261F641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id="{B1BAFBDE-CE28-E8FC-0279-B7DF682C1E6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9E4D5AC-D689-0AFA-F351-0818F0FFEEB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980433" y="5073904"/>
            <a:ext cx="6684029" cy="797941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r"/>
            <a:r>
              <a:rPr lang="es-ES" sz="2000" b="1">
                <a:solidFill>
                  <a:schemeClr val="bg1"/>
                </a:solidFill>
              </a:rPr>
              <a:t>MOTIVOS DE RECHAZO  SOLICITUDES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FE52672-380D-C98A-C36B-730C02045C88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2908300"/>
            <a:ext cx="3603625" cy="1450975"/>
          </a:xfrm>
        </p:spPr>
        <p:txBody>
          <a:bodyPr vert="horz" lIns="91440" tIns="45720" rIns="91440" bIns="45720" anchor="t">
            <a:normAutofit fontScale="90000"/>
          </a:bodyPr>
          <a:lstStyle/>
          <a:p>
            <a:r>
              <a:rPr lang="es-CL" sz="4000">
                <a:solidFill>
                  <a:schemeClr val="bg2"/>
                </a:solidFill>
              </a:rPr>
              <a:t>Servicio de Capacitaciones ACHS</a:t>
            </a:r>
          </a:p>
        </p:txBody>
      </p:sp>
    </p:spTree>
    <p:extLst>
      <p:ext uri="{BB962C8B-B14F-4D97-AF65-F5344CB8AC3E}">
        <p14:creationId xmlns:p14="http://schemas.microsoft.com/office/powerpoint/2010/main" val="3188867942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3C26E7-EFBA-21AA-0934-E568373713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5142FDC-4F8E-39D9-C445-397E19BC301F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AD51AE6-81F1-3427-E19F-E8CDE0C38638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C5C7A1B-8FF8-D3E5-3837-F725AE642D5E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4E3A1764-0C09-C9AD-E26E-CC8851C18F81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Marcador de contenido 3">
            <a:extLst>
              <a:ext uri="{FF2B5EF4-FFF2-40B4-BE49-F238E27FC236}">
                <a16:creationId xmlns:a16="http://schemas.microsoft.com/office/drawing/2014/main" id="{C485AA40-48BF-4108-D0EA-92C31DB58F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262" y="1583738"/>
            <a:ext cx="5237145" cy="4456168"/>
          </a:xfrm>
          <a:prstGeom prst="rect">
            <a:avLst/>
          </a:prstGeom>
        </p:spPr>
      </p:pic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A8F732C2-2ED5-70CE-1FA8-F84304F3E254}"/>
              </a:ext>
            </a:extLst>
          </p:cNvPr>
          <p:cNvSpPr txBox="1">
            <a:spLocks/>
          </p:cNvSpPr>
          <p:nvPr/>
        </p:nvSpPr>
        <p:spPr>
          <a:xfrm>
            <a:off x="9172476" y="2169127"/>
            <a:ext cx="2705512" cy="419650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La solicitud queda rechazada ya que la fecha de inicio del curso no puede ser inferior a los plazos mencionados a continuación: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olicitudes de cursos presenciales,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treaming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charlas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treaming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y charlas son: mínimo </a:t>
            </a:r>
            <a:r>
              <a:rPr kumimoji="0" lang="es-E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08 días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es-E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ábiles 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evios al inicio del curso. En el caso de las excepciones deben ser gestionadas con un mínimo de </a:t>
            </a:r>
            <a:r>
              <a:rPr kumimoji="0" lang="es-E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03 días hábiles 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ntre la fecha de solicitud y la fecha de inicio del curso 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sng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No se cuenta la fecha de creación de solicitud y fecha de inicio del curso en ninguno de los casos mencionados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0CA08AD9-A20B-779F-8DB9-7F13034FC58B}"/>
              </a:ext>
            </a:extLst>
          </p:cNvPr>
          <p:cNvSpPr txBox="1">
            <a:spLocks/>
          </p:cNvSpPr>
          <p:nvPr/>
        </p:nvSpPr>
        <p:spPr>
          <a:xfrm>
            <a:off x="9172476" y="1438242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chazo Fuera de plazo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C76A2A93-6B73-D2AD-DE98-A50A4A74DE8D}"/>
              </a:ext>
            </a:extLst>
          </p:cNvPr>
          <p:cNvSpPr/>
          <p:nvPr/>
        </p:nvSpPr>
        <p:spPr>
          <a:xfrm>
            <a:off x="4241761" y="5086212"/>
            <a:ext cx="1098335" cy="272172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78554456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9DE40A-B0BA-094F-8705-FA1778E3B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045E4FE-D90F-4CC8-E4BC-123125EECE3E}"/>
              </a:ext>
            </a:extLst>
          </p:cNvPr>
          <p:cNvSpPr txBox="1"/>
          <p:nvPr/>
        </p:nvSpPr>
        <p:spPr>
          <a:xfrm>
            <a:off x="5401995" y="5102951"/>
            <a:ext cx="6356252" cy="13752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lIns="0" tIns="0" rIns="0" bIns="0" numCol="1" spcCol="3810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GRESO DE OPORTUNIDAD EN SALESFORCE</a:t>
            </a:r>
            <a:endParaRPr kumimoji="0" lang="en-US" sz="20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6849838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C1E713-F804-E1C7-E2E1-94E8ACA0EC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5B8B903-6A7A-C3F6-AC90-6932A653F040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E328DB7-E6A8-56FB-B29B-7044F1AF0677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0F699E0F-B4B5-859E-18B8-A62A583B674F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E44553DD-257F-7E08-3AFE-C240A4240D3C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Marcador de contenido 3">
            <a:extLst>
              <a:ext uri="{FF2B5EF4-FFF2-40B4-BE49-F238E27FC236}">
                <a16:creationId xmlns:a16="http://schemas.microsoft.com/office/drawing/2014/main" id="{947FDA4B-906B-FD7D-4C50-C95CD081AB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3685" y="1453491"/>
            <a:ext cx="5231769" cy="4655543"/>
          </a:xfrm>
          <a:prstGeom prst="rect">
            <a:avLst/>
          </a:prstGeom>
        </p:spPr>
      </p:pic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D935D633-4A05-C72C-1D1C-FFBF851982BD}"/>
              </a:ext>
            </a:extLst>
          </p:cNvPr>
          <p:cNvSpPr txBox="1">
            <a:spLocks/>
          </p:cNvSpPr>
          <p:nvPr/>
        </p:nvSpPr>
        <p:spPr>
          <a:xfrm>
            <a:off x="9207647" y="2384360"/>
            <a:ext cx="2836984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e refiere a cuando el experto ACHS o encargado de crear las solicitudes, no ingresa datos fundamentales para la coordinación del curso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or Ejemplo: 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No creación de módulos no ingresa fechas de inicio - fin, el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N°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de participantes es superior o inferior a lo indicado en el maestro de cursos, no selecciona el proyecto de capacitaciones, pide cursos no disponibles en la oferta, no ingresa la dirección o se encuentra incompleta. Etc.</a:t>
            </a:r>
            <a:endParaRPr kumimoji="0" lang="x-none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33F84DD9-5FE0-6384-B1B2-35BA74E6FB06}"/>
              </a:ext>
            </a:extLst>
          </p:cNvPr>
          <p:cNvSpPr txBox="1">
            <a:spLocks/>
          </p:cNvSpPr>
          <p:nvPr/>
        </p:nvSpPr>
        <p:spPr>
          <a:xfrm>
            <a:off x="9207647" y="1453320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consistencia en la oportunidad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22F77648-CB18-24D5-1341-E018C2D3C646}"/>
              </a:ext>
            </a:extLst>
          </p:cNvPr>
          <p:cNvSpPr/>
          <p:nvPr/>
        </p:nvSpPr>
        <p:spPr>
          <a:xfrm>
            <a:off x="4206240" y="4965192"/>
            <a:ext cx="1463040" cy="512064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160543232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4E2DCA-032F-7A3D-7AF6-4CCF0E82D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4EBEF14-16FE-916B-F3E8-77B0473CF880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B8532106-58B1-CBFC-EABB-021678C2FA3B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FA0EAEF-9E63-1F75-DF97-8D15A74C3494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3D79A536-7FB5-CB38-08C6-7D1D6B32442E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Marcador de contenido 3">
            <a:extLst>
              <a:ext uri="{FF2B5EF4-FFF2-40B4-BE49-F238E27FC236}">
                <a16:creationId xmlns:a16="http://schemas.microsoft.com/office/drawing/2014/main" id="{EC86652A-050F-EA7F-3368-097BA04114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6205" y="1611086"/>
            <a:ext cx="5406730" cy="4400097"/>
          </a:xfrm>
          <a:prstGeom prst="rect">
            <a:avLst/>
          </a:prstGeom>
        </p:spPr>
      </p:pic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BDCAEF9D-DB97-31B0-0A0C-587DA1121B11}"/>
              </a:ext>
            </a:extLst>
          </p:cNvPr>
          <p:cNvSpPr txBox="1">
            <a:spLocks/>
          </p:cNvSpPr>
          <p:nvPr/>
        </p:nvSpPr>
        <p:spPr>
          <a:xfrm>
            <a:off x="9129443" y="2169128"/>
            <a:ext cx="2828095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ste motivo corresponde  cuando OTEC o el coordinador propietario requiere de alguna modificación o comentario por parte del experto ACHS para continuar con la gestión del curso y este no contesta en el plazo que corresponde a 01 día hábil, desde que el coordinador de capaciones lo etiqueta en el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hatter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de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alesforce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or ejemplo: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olicitud de georreferenciación o regularización del módulo por ingreso inferior o superior de las horas del curso, etc.</a:t>
            </a:r>
            <a:endParaRPr kumimoji="0" lang="x-none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AD0320F2-CE97-5414-9344-C5C757793F08}"/>
              </a:ext>
            </a:extLst>
          </p:cNvPr>
          <p:cNvSpPr txBox="1">
            <a:spLocks/>
          </p:cNvSpPr>
          <p:nvPr/>
        </p:nvSpPr>
        <p:spPr>
          <a:xfrm>
            <a:off x="9129443" y="1465590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No reparar en plazos estipulados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0F3413B5-A1C0-EDD0-107B-BA23C51D1A10}"/>
              </a:ext>
            </a:extLst>
          </p:cNvPr>
          <p:cNvSpPr/>
          <p:nvPr/>
        </p:nvSpPr>
        <p:spPr>
          <a:xfrm>
            <a:off x="4241761" y="5152888"/>
            <a:ext cx="1854239" cy="205495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10832112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3AD2EE-C2CA-3EA2-C449-04CBD36DD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6BA4D90-907A-9D9A-F23D-76151F7A6FA0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04CA6704-8D4B-FA0F-7EB9-302A9A3E9A32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2691C72-4ED1-7BC2-C4F3-8A9BDB75FF7A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7950A4EF-E584-7CB1-17D3-8D017B94E6A7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Marcador de contenido 3">
            <a:extLst>
              <a:ext uri="{FF2B5EF4-FFF2-40B4-BE49-F238E27FC236}">
                <a16:creationId xmlns:a16="http://schemas.microsoft.com/office/drawing/2014/main" id="{AA37EAFC-4A4E-D219-31B9-9451B48600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1627" y="1411122"/>
            <a:ext cx="5292399" cy="4439379"/>
          </a:xfrm>
          <a:prstGeom prst="rect">
            <a:avLst/>
          </a:prstGeom>
        </p:spPr>
      </p:pic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BFEA997A-4C6E-CA44-4F0B-A9FDF2F38A05}"/>
              </a:ext>
            </a:extLst>
          </p:cNvPr>
          <p:cNvSpPr txBox="1">
            <a:spLocks/>
          </p:cNvSpPr>
          <p:nvPr/>
        </p:nvSpPr>
        <p:spPr>
          <a:xfrm>
            <a:off x="9125584" y="2267099"/>
            <a:ext cx="2919047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n este caso, corresponde cuando  OTEC  no posee disponibilidad en la fecha inicial y no hay OTEC Back up para re derivar. En estos casos, si no se llega a acuerdo entre las partes se rechaza la oportunidad y se debe crear una nueva solicitud con otro margen disponible.</a:t>
            </a:r>
            <a:endParaRPr kumimoji="0" lang="x-none" sz="12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51DDAD25-C9C8-076D-81EE-C46EE424B3D8}"/>
              </a:ext>
            </a:extLst>
          </p:cNvPr>
          <p:cNvSpPr txBox="1">
            <a:spLocks/>
          </p:cNvSpPr>
          <p:nvPr/>
        </p:nvSpPr>
        <p:spPr>
          <a:xfrm>
            <a:off x="9125584" y="1436070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No se aceptan fechas tentativas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44D81BDB-7526-79A5-7CE9-B3FA58499EE6}"/>
              </a:ext>
            </a:extLst>
          </p:cNvPr>
          <p:cNvSpPr/>
          <p:nvPr/>
        </p:nvSpPr>
        <p:spPr>
          <a:xfrm>
            <a:off x="4397826" y="4745736"/>
            <a:ext cx="1698174" cy="466344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173619384"/>
      </p:ext>
    </p:extLst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1FFB7-45AC-1F1F-7649-3D26DD126F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1EB8B1F-3EE7-3C7D-9F03-A16FFD2E63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1EB8B1F-3EE7-3C7D-9F03-A16FFD2E6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id="{E3EA06D5-FBA6-C3B6-4758-BADDD7323FB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AB57F4F-E8CD-3E1D-3A91-51560755D99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980433" y="5073904"/>
            <a:ext cx="6684029" cy="797941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r"/>
            <a:r>
              <a:rPr lang="es-ES" sz="2000" b="1">
                <a:solidFill>
                  <a:schemeClr val="bg1"/>
                </a:solidFill>
              </a:rPr>
              <a:t>MOTIVOS DE EXCEPCIONES SOLICITUDES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5081CF1-FA16-4E4C-380C-E8A190D08F6F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2908300"/>
            <a:ext cx="3603625" cy="1450975"/>
          </a:xfrm>
        </p:spPr>
        <p:txBody>
          <a:bodyPr vert="horz" lIns="91440" tIns="45720" rIns="91440" bIns="45720" anchor="t">
            <a:normAutofit fontScale="90000"/>
          </a:bodyPr>
          <a:lstStyle/>
          <a:p>
            <a:r>
              <a:rPr lang="es-CL" sz="4000">
                <a:solidFill>
                  <a:schemeClr val="bg2"/>
                </a:solidFill>
              </a:rPr>
              <a:t>Servicio de Capacitaciones ACHS</a:t>
            </a:r>
          </a:p>
        </p:txBody>
      </p:sp>
    </p:spTree>
    <p:extLst>
      <p:ext uri="{BB962C8B-B14F-4D97-AF65-F5344CB8AC3E}">
        <p14:creationId xmlns:p14="http://schemas.microsoft.com/office/powerpoint/2010/main" val="3090859960"/>
      </p:ext>
    </p:extLst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5CB57A-5CF1-F9DB-7BFC-9BBB60751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A2E1924-3CBC-BC5C-5F50-D038770C15AD}"/>
              </a:ext>
            </a:extLst>
          </p:cNvPr>
          <p:cNvSpPr txBox="1"/>
          <p:nvPr/>
        </p:nvSpPr>
        <p:spPr>
          <a:xfrm>
            <a:off x="142754" y="6614944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FC40B21C-654C-6ABE-E3C3-618393434C57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78671FF-ACB5-2079-3455-E78A2801B45D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64D029CB-F5E0-93A8-F980-FA9BFF09C545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BEE41A5F-A674-D402-1158-2D20C942EB00}"/>
              </a:ext>
            </a:extLst>
          </p:cNvPr>
          <p:cNvSpPr txBox="1">
            <a:spLocks/>
          </p:cNvSpPr>
          <p:nvPr/>
        </p:nvSpPr>
        <p:spPr>
          <a:xfrm>
            <a:off x="9301431" y="2169128"/>
            <a:ext cx="2520455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Text Placeholder 26">
            <a:extLst>
              <a:ext uri="{FF2B5EF4-FFF2-40B4-BE49-F238E27FC236}">
                <a16:creationId xmlns:a16="http://schemas.microsoft.com/office/drawing/2014/main" id="{936CC202-3C17-1AFD-3A10-839C5347ECD8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42754" y="6243118"/>
            <a:ext cx="7481364" cy="371826"/>
          </a:xfrm>
        </p:spPr>
        <p:txBody>
          <a:bodyPr/>
          <a:lstStyle/>
          <a:p>
            <a:pPr marL="0" indent="0">
              <a:buNone/>
            </a:pPr>
            <a:r>
              <a:rPr lang="es-ES"/>
              <a:t>Las Excepciones deben ser gestionadas con un mínimo de 3 días hábiles</a:t>
            </a:r>
            <a:r>
              <a:rPr lang="es-ES" u="sng"/>
              <a:t> entre </a:t>
            </a:r>
            <a:r>
              <a:rPr lang="es-ES"/>
              <a:t>la fecha de solicitud y la fecha de inicio del curso deben ser solicitadas con nombre de oportunidad “excepción” marcando el recuadro indicado en la imagen referencial.</a:t>
            </a:r>
          </a:p>
          <a:p>
            <a:endParaRPr lang="x-none"/>
          </a:p>
        </p:txBody>
      </p:sp>
      <p:pic>
        <p:nvPicPr>
          <p:cNvPr id="6" name="Marcador de contenido 3">
            <a:extLst>
              <a:ext uri="{FF2B5EF4-FFF2-40B4-BE49-F238E27FC236}">
                <a16:creationId xmlns:a16="http://schemas.microsoft.com/office/drawing/2014/main" id="{279F7D73-8426-341D-F333-6F7BCFCF04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1978" y="1467173"/>
            <a:ext cx="5395830" cy="4546836"/>
          </a:xfrm>
          <a:prstGeom prst="rect">
            <a:avLst/>
          </a:prstGeom>
        </p:spPr>
      </p:pic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8D333E82-2429-4335-F665-0108F756482E}"/>
              </a:ext>
            </a:extLst>
          </p:cNvPr>
          <p:cNvSpPr txBox="1">
            <a:spLocks/>
          </p:cNvSpPr>
          <p:nvPr/>
        </p:nvSpPr>
        <p:spPr>
          <a:xfrm>
            <a:off x="9005001" y="2143231"/>
            <a:ext cx="2969285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sto corresponde cuando la empresa requiere auditar algún tema interno, relacionado con capacitaciones de manera urgente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l experto ACHS asesor, además de cumplir los plazos y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B°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debe adjuntar en “archivos” el acta que indica que es lo que se requiere auditar.</a:t>
            </a:r>
            <a:endParaRPr kumimoji="0" lang="x-none" sz="12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Text Placeholder 24">
            <a:extLst>
              <a:ext uri="{FF2B5EF4-FFF2-40B4-BE49-F238E27FC236}">
                <a16:creationId xmlns:a16="http://schemas.microsoft.com/office/drawing/2014/main" id="{0F405523-801F-1FA4-28DA-0D66CE501554}"/>
              </a:ext>
            </a:extLst>
          </p:cNvPr>
          <p:cNvSpPr txBox="1">
            <a:spLocks/>
          </p:cNvSpPr>
          <p:nvPr/>
        </p:nvSpPr>
        <p:spPr>
          <a:xfrm>
            <a:off x="9005001" y="1467173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xcepción por auditoría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8AA598FC-9363-1D13-16B5-3758775460CE}"/>
              </a:ext>
            </a:extLst>
          </p:cNvPr>
          <p:cNvSpPr/>
          <p:nvPr/>
        </p:nvSpPr>
        <p:spPr>
          <a:xfrm>
            <a:off x="4041648" y="4553712"/>
            <a:ext cx="832104" cy="237744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502214352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02E1D3-E445-71D8-7093-804F01CBB5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49120C0-223A-22AB-8A5B-F7D8AAA358DD}"/>
              </a:ext>
            </a:extLst>
          </p:cNvPr>
          <p:cNvSpPr txBox="1"/>
          <p:nvPr/>
        </p:nvSpPr>
        <p:spPr>
          <a:xfrm>
            <a:off x="142754" y="6614944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0D4819E-1F28-DDF2-EEFE-CEA98154D7F5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5555A47-582B-358A-E7F3-2CEA294C634F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6A8BAE5C-854B-3FFA-4934-22FED1CDB207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25C318C8-7F28-B70A-BCA5-E941A71E8BDB}"/>
              </a:ext>
            </a:extLst>
          </p:cNvPr>
          <p:cNvSpPr txBox="1">
            <a:spLocks/>
          </p:cNvSpPr>
          <p:nvPr/>
        </p:nvSpPr>
        <p:spPr>
          <a:xfrm>
            <a:off x="9301431" y="2169128"/>
            <a:ext cx="2520455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Text Placeholder 26">
            <a:extLst>
              <a:ext uri="{FF2B5EF4-FFF2-40B4-BE49-F238E27FC236}">
                <a16:creationId xmlns:a16="http://schemas.microsoft.com/office/drawing/2014/main" id="{DBA8886E-7C44-7E0F-3EFA-7E46A34714AB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42754" y="6243118"/>
            <a:ext cx="7481364" cy="371826"/>
          </a:xfrm>
        </p:spPr>
        <p:txBody>
          <a:bodyPr/>
          <a:lstStyle/>
          <a:p>
            <a:pPr marL="0" indent="0">
              <a:buNone/>
            </a:pPr>
            <a:r>
              <a:rPr lang="es-ES"/>
              <a:t>Las Excepciones deben ser gestionadas con un mínimo de 3 días hábiles</a:t>
            </a:r>
            <a:r>
              <a:rPr lang="es-ES" u="sng"/>
              <a:t> entre </a:t>
            </a:r>
            <a:r>
              <a:rPr lang="es-ES"/>
              <a:t>la fecha de solicitud y la fecha de inicio del curso deben ser solicitadas con nombre de oportunidad “excepción” marcando el recuadro indicado en la imagen referencial.</a:t>
            </a:r>
          </a:p>
          <a:p>
            <a:endParaRPr lang="x-none"/>
          </a:p>
        </p:txBody>
      </p:sp>
      <p:pic>
        <p:nvPicPr>
          <p:cNvPr id="2" name="Marcador de contenido 5">
            <a:extLst>
              <a:ext uri="{FF2B5EF4-FFF2-40B4-BE49-F238E27FC236}">
                <a16:creationId xmlns:a16="http://schemas.microsoft.com/office/drawing/2014/main" id="{BC3E2ACB-BFA7-CEB8-775A-2A87CA869D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5231" y="1412298"/>
            <a:ext cx="5273973" cy="4627608"/>
          </a:xfrm>
          <a:prstGeom prst="rect">
            <a:avLst/>
          </a:prstGeom>
        </p:spPr>
      </p:pic>
      <p:sp>
        <p:nvSpPr>
          <p:cNvPr id="4" name="Text Placeholder 25">
            <a:extLst>
              <a:ext uri="{FF2B5EF4-FFF2-40B4-BE49-F238E27FC236}">
                <a16:creationId xmlns:a16="http://schemas.microsoft.com/office/drawing/2014/main" id="{707DD1FF-126A-01D6-3B54-A8A8735D3D23}"/>
              </a:ext>
            </a:extLst>
          </p:cNvPr>
          <p:cNvSpPr txBox="1">
            <a:spLocks/>
          </p:cNvSpPr>
          <p:nvPr/>
        </p:nvSpPr>
        <p:spPr>
          <a:xfrm>
            <a:off x="9005000" y="1994955"/>
            <a:ext cx="3039630" cy="472236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e refiere a que, por diversos motivos ajenos a la coordinación, la empresa requiere que se gestione una solicitud de curso en plazos inferiores a los </a:t>
            </a:r>
            <a:r>
              <a:rPr kumimoji="0" lang="es-E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08 días hábiles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mínimos al inicio del curso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cordar que las excepciones son para gestionar la solicitud en menor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n°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de días, pero esto no asegura su ejecución ya que eso depende de OTEC y su agenda de relatores. Solo se confirma fecha cuando la oportunidad se encuentra asignada a facilitador. </a:t>
            </a:r>
            <a:r>
              <a:rPr kumimoji="0" lang="es-ES" sz="1200" b="0" i="0" u="sng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ntes de eso solo son fechas tentativas, incluso la entregada por la empresa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e debe adjuntar en la oportunidad el correo con el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°B°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por fuera de plazo de: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ubgerente Territorial para Región Metropolitana y Gerente Territorial Zona Norte y Sur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F2C8ABA2-2461-A9BE-3E66-503F82A5712E}"/>
              </a:ext>
            </a:extLst>
          </p:cNvPr>
          <p:cNvSpPr txBox="1">
            <a:spLocks/>
          </p:cNvSpPr>
          <p:nvPr/>
        </p:nvSpPr>
        <p:spPr>
          <a:xfrm>
            <a:off x="9005001" y="1412298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xcepción por estar fuera de plazo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F1C52C3D-1AAD-036E-01A7-255E699AFB6D}"/>
              </a:ext>
            </a:extLst>
          </p:cNvPr>
          <p:cNvSpPr/>
          <p:nvPr/>
        </p:nvSpPr>
        <p:spPr>
          <a:xfrm>
            <a:off x="4117937" y="4745736"/>
            <a:ext cx="1240447" cy="210312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099572641"/>
      </p:ext>
    </p:extLst>
  </p:cSld>
  <p:clrMapOvr>
    <a:masterClrMapping/>
  </p:clrMapOvr>
  <p:transition spd="med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4A075E-7CD5-9275-5D6A-38644D5853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F3D55A1-787F-962E-9477-F9B186DED2FF}"/>
              </a:ext>
            </a:extLst>
          </p:cNvPr>
          <p:cNvSpPr txBox="1"/>
          <p:nvPr/>
        </p:nvSpPr>
        <p:spPr>
          <a:xfrm>
            <a:off x="142754" y="6614944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F04C200C-A663-8E6B-979D-D9233EC18D57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142873A-E464-1408-C4FA-2EBA9195CA17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5AD3383-C9F3-9FE5-D91F-131B691EF44A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4CFFAB42-F1BB-9FD2-5FED-626ECB111E05}"/>
              </a:ext>
            </a:extLst>
          </p:cNvPr>
          <p:cNvSpPr txBox="1">
            <a:spLocks/>
          </p:cNvSpPr>
          <p:nvPr/>
        </p:nvSpPr>
        <p:spPr>
          <a:xfrm>
            <a:off x="9301431" y="2169128"/>
            <a:ext cx="2520455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Text Placeholder 26">
            <a:extLst>
              <a:ext uri="{FF2B5EF4-FFF2-40B4-BE49-F238E27FC236}">
                <a16:creationId xmlns:a16="http://schemas.microsoft.com/office/drawing/2014/main" id="{EFD2F949-247F-B3F9-99C2-B6D56F184DAC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42754" y="6243118"/>
            <a:ext cx="7481364" cy="371826"/>
          </a:xfrm>
        </p:spPr>
        <p:txBody>
          <a:bodyPr/>
          <a:lstStyle/>
          <a:p>
            <a:pPr marL="0" indent="0">
              <a:buNone/>
            </a:pPr>
            <a:r>
              <a:rPr lang="es-ES"/>
              <a:t>Las Excepciones deben ser gestionadas con un mínimo de 3 días hábiles</a:t>
            </a:r>
            <a:r>
              <a:rPr lang="es-ES" u="sng"/>
              <a:t> entre </a:t>
            </a:r>
            <a:r>
              <a:rPr lang="es-ES"/>
              <a:t>la fecha de solicitud y la fecha de inicio del curso deben ser solicitadas con nombre de oportunidad “excepción” marcando el recuadro indicado en la imagen referencial.</a:t>
            </a:r>
          </a:p>
          <a:p>
            <a:endParaRPr lang="x-none"/>
          </a:p>
        </p:txBody>
      </p:sp>
      <p:pic>
        <p:nvPicPr>
          <p:cNvPr id="2" name="Marcador de contenido 3">
            <a:extLst>
              <a:ext uri="{FF2B5EF4-FFF2-40B4-BE49-F238E27FC236}">
                <a16:creationId xmlns:a16="http://schemas.microsoft.com/office/drawing/2014/main" id="{C4772A1C-4107-AB6A-4446-D0F227073B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6352" y="1289752"/>
            <a:ext cx="4839521" cy="4460627"/>
          </a:xfrm>
          <a:prstGeom prst="rect">
            <a:avLst/>
          </a:prstGeom>
        </p:spPr>
      </p:pic>
      <p:sp>
        <p:nvSpPr>
          <p:cNvPr id="4" name="Text Placeholder 25">
            <a:extLst>
              <a:ext uri="{FF2B5EF4-FFF2-40B4-BE49-F238E27FC236}">
                <a16:creationId xmlns:a16="http://schemas.microsoft.com/office/drawing/2014/main" id="{8F65448E-6C5A-DFC2-84FA-66B5A18DAB8F}"/>
              </a:ext>
            </a:extLst>
          </p:cNvPr>
          <p:cNvSpPr txBox="1">
            <a:spLocks/>
          </p:cNvSpPr>
          <p:nvPr/>
        </p:nvSpPr>
        <p:spPr>
          <a:xfrm>
            <a:off x="9102137" y="2054409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l último motivo de excepción corresponde a cuando una empresa tiene un accidente de gravedad o con resultado de causa fatal para uno de sus trabajadores y requiere capacitar a sus colaboradores</a:t>
            </a: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.</a:t>
            </a: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14572BCC-C314-0467-F3CB-3FF80D15CB05}"/>
              </a:ext>
            </a:extLst>
          </p:cNvPr>
          <p:cNvSpPr txBox="1">
            <a:spLocks/>
          </p:cNvSpPr>
          <p:nvPr/>
        </p:nvSpPr>
        <p:spPr>
          <a:xfrm>
            <a:off x="9102137" y="1292243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xcepción por accidente o causa fatal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3F4EB991-0DF3-EB01-B10B-2240452DFB43}"/>
              </a:ext>
            </a:extLst>
          </p:cNvPr>
          <p:cNvSpPr/>
          <p:nvPr/>
        </p:nvSpPr>
        <p:spPr>
          <a:xfrm>
            <a:off x="4379976" y="4700016"/>
            <a:ext cx="1435608" cy="365760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62595380"/>
      </p:ext>
    </p:extLst>
  </p:cSld>
  <p:clrMapOvr>
    <a:masterClrMapping/>
  </p:clrMapOvr>
  <p:transition spd="med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917277-AE85-FC11-E02F-A8806BA857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05CFE87A-F940-579A-4387-05ABF7B97B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05CFE87A-F940-579A-4387-05ABF7B97B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22B75723-E350-3DE5-21AF-E4BC1340C70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8D68A2FB-54FD-5339-6931-E077A9BAFD0E}"/>
              </a:ext>
            </a:extLst>
          </p:cNvPr>
          <p:cNvSpPr txBox="1">
            <a:spLocks/>
          </p:cNvSpPr>
          <p:nvPr/>
        </p:nvSpPr>
        <p:spPr>
          <a:xfrm>
            <a:off x="4508205" y="4488846"/>
            <a:ext cx="8438317" cy="10356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CL" sz="3600" b="1" kern="1200" spc="-15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00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Helvetica Neue"/>
              </a:rPr>
              <a:t>MOTIVOS DE QUIEBRES DE SERVICIOS POR PARTE DE OTEC</a:t>
            </a:r>
          </a:p>
        </p:txBody>
      </p:sp>
    </p:spTree>
    <p:extLst>
      <p:ext uri="{BB962C8B-B14F-4D97-AF65-F5344CB8AC3E}">
        <p14:creationId xmlns:p14="http://schemas.microsoft.com/office/powerpoint/2010/main" val="247458236"/>
      </p:ext>
    </p:extLst>
  </p:cSld>
  <p:clrMapOvr>
    <a:masterClrMapping/>
  </p:clrMapOvr>
  <p:transition spd="med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5C7B27-A814-1ECF-06FA-1D297A1175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11CD1ACC-3D3B-B533-A168-4F3A05BD700E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3C520B3-2000-95D4-DFA3-30F3CC27A38A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83F774D-F291-8053-A044-8D68CB6242DB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73CD36C0-9E6A-E6C1-B3AC-E01D0B56E7A9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5" name="Marcador de contenido 3">
            <a:extLst>
              <a:ext uri="{FF2B5EF4-FFF2-40B4-BE49-F238E27FC236}">
                <a16:creationId xmlns:a16="http://schemas.microsoft.com/office/drawing/2014/main" id="{FC02B07E-0E7C-E079-D52D-055A15ADF1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9377" y="1586416"/>
            <a:ext cx="5567966" cy="4350280"/>
          </a:xfrm>
          <a:prstGeom prst="rect">
            <a:avLst/>
          </a:prstGeom>
        </p:spPr>
      </p:pic>
      <p:sp>
        <p:nvSpPr>
          <p:cNvPr id="6" name="Text Placeholder 25">
            <a:extLst>
              <a:ext uri="{FF2B5EF4-FFF2-40B4-BE49-F238E27FC236}">
                <a16:creationId xmlns:a16="http://schemas.microsoft.com/office/drawing/2014/main" id="{6D2DEBC5-912D-D33D-5F4A-2507F511362F}"/>
              </a:ext>
            </a:extLst>
          </p:cNvPr>
          <p:cNvSpPr txBox="1">
            <a:spLocks/>
          </p:cNvSpPr>
          <p:nvPr/>
        </p:nvSpPr>
        <p:spPr>
          <a:xfrm>
            <a:off x="9137306" y="2169127"/>
            <a:ext cx="2907325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rresponde a la inasistencia por parte del relator asignado a dictar el curso y a su vez OTEC no posea un back up para enviar en su reemplazo. 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ambién puede surgir cuando el relator tiene un atraso mayor a 20 minutos (Limite máximo de espera)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n ambos casos el experto ACHS debe solicitar a la empresa la fecha y hora que ellos estimen conveniente par recuperar el servicio, creando una solicitud nueva y enviándola por correo al supervisor(a) de capacitaciones con copia al coordinador.</a:t>
            </a:r>
            <a:endParaRPr kumimoji="0" lang="x-none" sz="12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3C28C7EB-9A1E-C17A-A9E2-BAA678B5C598}"/>
              </a:ext>
            </a:extLst>
          </p:cNvPr>
          <p:cNvSpPr txBox="1">
            <a:spLocks/>
          </p:cNvSpPr>
          <p:nvPr/>
        </p:nvSpPr>
        <p:spPr>
          <a:xfrm>
            <a:off x="9137307" y="1440920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acilitador no asiste - Atraso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0C717154-D4C7-B721-D4C2-1B4BBA901CDF}"/>
              </a:ext>
            </a:extLst>
          </p:cNvPr>
          <p:cNvSpPr/>
          <p:nvPr/>
        </p:nvSpPr>
        <p:spPr>
          <a:xfrm>
            <a:off x="1239377" y="5177558"/>
            <a:ext cx="2317639" cy="189969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306992919"/>
      </p:ext>
    </p:extLst>
  </p:cSld>
  <p:clrMapOvr>
    <a:masterClrMapping/>
  </p:clrMapOvr>
  <p:transition spd="med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AE5953-2234-6B0B-3DC0-797A6795A4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10E6BE70-865D-D6DE-D34B-0502078C528F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46ED825-F628-8E2C-8701-C5D30831CB94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6030B17-170C-5F7A-BCA0-97A85D8AB46F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6AC8357F-EF24-925F-0FBD-A7B123EA97D3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Marcador de contenido 3">
            <a:extLst>
              <a:ext uri="{FF2B5EF4-FFF2-40B4-BE49-F238E27FC236}">
                <a16:creationId xmlns:a16="http://schemas.microsoft.com/office/drawing/2014/main" id="{A2AF501E-6F68-3F6F-83E4-D962F55021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4114" y="1439089"/>
            <a:ext cx="4865230" cy="4600817"/>
          </a:xfrm>
          <a:prstGeom prst="rect">
            <a:avLst/>
          </a:prstGeom>
        </p:spPr>
      </p:pic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A85A2B56-0B79-5838-EC8B-965CC6A700AB}"/>
              </a:ext>
            </a:extLst>
          </p:cNvPr>
          <p:cNvSpPr txBox="1">
            <a:spLocks/>
          </p:cNvSpPr>
          <p:nvPr/>
        </p:nvSpPr>
        <p:spPr>
          <a:xfrm>
            <a:off x="9077231" y="2053572"/>
            <a:ext cx="3039630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e refiere a la falta o inexistencia de materiales y/o insumos obligatorios requeridos para ejecutar la capacitación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or ejemplo, podría ser un curso de Uso de extintores sin simulador o un taller de primera respuesta de salud, sin fantoma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specto a artículos como datas o conexiones, la empresa debe asegurar de tenerlos o solicitarlos a su equipo de atención. Se puede consultar a OTEC, mas no es una obligación por arte de ellos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8A7145D2-3E3F-A6E0-7665-7EF12BEB3052}"/>
              </a:ext>
            </a:extLst>
          </p:cNvPr>
          <p:cNvSpPr txBox="1">
            <a:spLocks/>
          </p:cNvSpPr>
          <p:nvPr/>
        </p:nvSpPr>
        <p:spPr>
          <a:xfrm>
            <a:off x="9077232" y="1439089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in insumos o equipamiento necesario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0688A8B5-F7F5-2E4F-F889-DCE2D4EE8EAC}"/>
              </a:ext>
            </a:extLst>
          </p:cNvPr>
          <p:cNvSpPr/>
          <p:nvPr/>
        </p:nvSpPr>
        <p:spPr>
          <a:xfrm>
            <a:off x="2020824" y="5604310"/>
            <a:ext cx="2103120" cy="320040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90151544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5B5C3D2-3E73-F27B-146D-25B25B68C7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5784" y="499703"/>
            <a:ext cx="5827885" cy="27846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80DD163-174E-A98C-44D0-358CC831AC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92287" y="1555376"/>
            <a:ext cx="2621628" cy="4121004"/>
          </a:xfrm>
        </p:spPr>
        <p:txBody>
          <a:bodyPr lIns="0" tIns="0" rIns="0" bIns="0" anchor="t"/>
          <a:lstStyle/>
          <a:p>
            <a:r>
              <a:rPr lang="es-CL" sz="12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ste instructivo proporciona los pasos detallados para ingresar correctamente una solicitud de oportunidad en la plataforma, de acuerdo con los lineamientos establecidos en la capacitación.</a:t>
            </a:r>
            <a:endParaRPr lang="en-US" sz="120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s-CL" sz="1200" b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Accede a la plataforma Salesforce</a:t>
            </a:r>
            <a:r>
              <a:rPr lang="es-CL" sz="12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utilizando tus credenciales institucionales.</a:t>
            </a:r>
            <a:endParaRPr lang="en-US" sz="1200">
              <a:solidFill>
                <a:schemeClr val="bg2">
                  <a:lumMod val="50000"/>
                </a:schemeClr>
              </a:solidFill>
              <a:latin typeface="Arial"/>
              <a:cs typeface="Arial"/>
            </a:endParaRPr>
          </a:p>
          <a:p>
            <a:r>
              <a:rPr lang="es-CL" sz="12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n el menú principal, selecciona la opción </a:t>
            </a:r>
            <a:r>
              <a:rPr lang="es-CL" sz="1200" b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"Capacitaciones"</a:t>
            </a:r>
            <a:r>
              <a:rPr lang="es-CL" sz="12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dentro de la </a:t>
            </a:r>
            <a:r>
              <a:rPr lang="es-CL" sz="1200" b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Consola de Servicios</a:t>
            </a:r>
            <a:r>
              <a:rPr lang="es-CL" sz="12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.</a:t>
            </a:r>
          </a:p>
          <a:p>
            <a:r>
              <a:rPr lang="en-US" sz="1200" b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Accede al "Módulo de Solicitudes"</a:t>
            </a:r>
            <a:r>
              <a:rPr lang="en-US" sz="12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, Donde podrás realizar la </a:t>
            </a:r>
            <a:r>
              <a:rPr lang="en-US" sz="120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solicitud</a:t>
            </a:r>
            <a:r>
              <a:rPr lang="en-US" sz="12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de oportunidades</a:t>
            </a:r>
            <a:endParaRPr lang="es-CL" sz="1200">
              <a:solidFill>
                <a:schemeClr val="bg2">
                  <a:lumMod val="50000"/>
                </a:schemeClr>
              </a:solidFill>
              <a:latin typeface="Arial"/>
              <a:cs typeface="Arial"/>
            </a:endParaRPr>
          </a:p>
          <a:p>
            <a:endParaRPr lang="es-CL" sz="1200">
              <a:solidFill>
                <a:schemeClr val="accent3"/>
              </a:solidFill>
              <a:latin typeface="Arial"/>
              <a:cs typeface="Arial"/>
            </a:endParaRPr>
          </a:p>
        </p:txBody>
      </p:sp>
      <p:sp>
        <p:nvSpPr>
          <p:cNvPr id="4" name="Marcador de texto 1">
            <a:extLst>
              <a:ext uri="{FF2B5EF4-FFF2-40B4-BE49-F238E27FC236}">
                <a16:creationId xmlns:a16="http://schemas.microsoft.com/office/drawing/2014/main" id="{E80A1215-A39F-FA72-9E32-65D0B2392BBD}"/>
              </a:ext>
            </a:extLst>
          </p:cNvPr>
          <p:cNvSpPr txBox="1">
            <a:spLocks/>
          </p:cNvSpPr>
          <p:nvPr/>
        </p:nvSpPr>
        <p:spPr>
          <a:xfrm>
            <a:off x="5605410" y="3394831"/>
            <a:ext cx="5320002" cy="504365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500" b="0" i="0" u="none" strike="noStrike" cap="none" spc="0" baseline="0">
                <a:solidFill>
                  <a:schemeClr val="bg2"/>
                </a:solidFill>
                <a:uFillTx/>
                <a:latin typeface="ACHS Nueva Sans Medium" pitchFamily="2" charset="77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just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s-CL" sz="1500" b="0" i="0" u="none" strike="noStrike" kern="0" cap="none" spc="0" normalizeH="0" baseline="0" noProof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CHS Nueva Sans Medium" pitchFamily="2" charset="77"/>
              <a:cs typeface="Arial"/>
              <a:sym typeface="Arial"/>
            </a:endParaRPr>
          </a:p>
        </p:txBody>
      </p:sp>
      <p:sp>
        <p:nvSpPr>
          <p:cNvPr id="5" name="Marcador de texto 2">
            <a:extLst>
              <a:ext uri="{FF2B5EF4-FFF2-40B4-BE49-F238E27FC236}">
                <a16:creationId xmlns:a16="http://schemas.microsoft.com/office/drawing/2014/main" id="{3ACCB2AA-1FDB-755A-C3DA-F917D85A5A3D}"/>
              </a:ext>
            </a:extLst>
          </p:cNvPr>
          <p:cNvSpPr txBox="1">
            <a:spLocks/>
          </p:cNvSpPr>
          <p:nvPr/>
        </p:nvSpPr>
        <p:spPr>
          <a:xfrm>
            <a:off x="5614259" y="1761812"/>
            <a:ext cx="5361957" cy="1300367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600" b="0" i="0" u="none" strike="noStrike" cap="none" spc="0" baseline="0">
                <a:solidFill>
                  <a:schemeClr val="tx1"/>
                </a:solidFill>
                <a:uFillTx/>
                <a:latin typeface="ACHS Nueva Serif" pitchFamily="2" charset="77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just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s-CL" sz="2600" b="0" i="0" u="none" strike="noStrike" kern="0" cap="none" spc="0" normalizeH="0" baseline="0" noProof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CHS Nueva Serif" pitchFamily="2" charset="77"/>
              <a:cs typeface="Arial"/>
              <a:sym typeface="Arial"/>
            </a:endParaRPr>
          </a:p>
        </p:txBody>
      </p:sp>
      <p:pic>
        <p:nvPicPr>
          <p:cNvPr id="23" name="Picture 2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D7E1943-B30F-B967-9FBE-00B79F64DB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0789" y="3429294"/>
            <a:ext cx="5836642" cy="29558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52831FD-DD15-9736-D040-EC873499CB30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A1B8BD98-DB79-2031-D7A2-EA8EE3492D5C}"/>
              </a:ext>
            </a:extLst>
          </p:cNvPr>
          <p:cNvSpPr/>
          <p:nvPr/>
        </p:nvSpPr>
        <p:spPr>
          <a:xfrm>
            <a:off x="1215784" y="3647013"/>
            <a:ext cx="1183341" cy="227242"/>
          </a:xfrm>
          <a:prstGeom prst="roundRect">
            <a:avLst/>
          </a:prstGeom>
          <a:noFill/>
          <a:ln w="15875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8" name="Flecha: hacia la izquierda 7">
            <a:extLst>
              <a:ext uri="{FF2B5EF4-FFF2-40B4-BE49-F238E27FC236}">
                <a16:creationId xmlns:a16="http://schemas.microsoft.com/office/drawing/2014/main" id="{9CEEFCE5-FBD2-78D3-53FC-AA13248A4053}"/>
              </a:ext>
            </a:extLst>
          </p:cNvPr>
          <p:cNvSpPr/>
          <p:nvPr/>
        </p:nvSpPr>
        <p:spPr>
          <a:xfrm>
            <a:off x="2160495" y="1488141"/>
            <a:ext cx="502023" cy="134470"/>
          </a:xfrm>
          <a:prstGeom prst="leftArrow">
            <a:avLst/>
          </a:prstGeom>
          <a:solidFill>
            <a:srgbClr val="00B05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id="{D20461FD-3D57-39FC-2118-C4A4C0397984}"/>
              </a:ext>
            </a:extLst>
          </p:cNvPr>
          <p:cNvSpPr/>
          <p:nvPr/>
        </p:nvSpPr>
        <p:spPr>
          <a:xfrm>
            <a:off x="1230789" y="472872"/>
            <a:ext cx="1183341" cy="227242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826564666"/>
      </p:ext>
    </p:extLst>
  </p:cSld>
  <p:clrMapOvr>
    <a:masterClrMapping/>
  </p:clrMapOvr>
  <p:transition spd="med"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10C2D5-80C6-C878-1045-69C09A1F42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AD3A36D-3989-3D09-D04B-1A653CF3877D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0E168363-4EC0-9A2C-6FC4-47BC9028D802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5A17909-4A29-23C9-8122-D3D3187AF82F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99C26A1A-495B-CAEC-669C-142B45775A4A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Marcador de contenido 3">
            <a:extLst>
              <a:ext uri="{FF2B5EF4-FFF2-40B4-BE49-F238E27FC236}">
                <a16:creationId xmlns:a16="http://schemas.microsoft.com/office/drawing/2014/main" id="{ABC2437C-CDE7-1100-878A-51B64446D3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6034" y="1567496"/>
            <a:ext cx="4763716" cy="4472410"/>
          </a:xfrm>
          <a:prstGeom prst="rect">
            <a:avLst/>
          </a:prstGeom>
        </p:spPr>
      </p:pic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5BBEAF75-FA85-A6BB-0D41-91835262298F}"/>
              </a:ext>
            </a:extLst>
          </p:cNvPr>
          <p:cNvSpPr txBox="1">
            <a:spLocks/>
          </p:cNvSpPr>
          <p:nvPr/>
        </p:nvSpPr>
        <p:spPr>
          <a:xfrm>
            <a:off x="9125583" y="2337480"/>
            <a:ext cx="2919048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ste motivo puede suceder cuando se demuestra que el facilitador no cumple con el estándar mínimo para ejecutar el curso. Puede ser desde nulo dominio del tema, maltrato a los asistentes, comentarios fuera de lugar y que comprometan la integridad de los trabajadores, etc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ara recuperación, experto ACHS debe solicitar a la empresa la fecha y hora que ellos estimen conveniente par recuperar el servicio, creando una solicitud nueva y enviándola por correo al supervisor(a) de capacitaciones con copia al coordinador.</a:t>
            </a:r>
            <a:endParaRPr kumimoji="0" lang="x-none" sz="12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6843FF46-320C-0F19-78C7-B4415C65BE7E}"/>
              </a:ext>
            </a:extLst>
          </p:cNvPr>
          <p:cNvSpPr txBox="1">
            <a:spLocks/>
          </p:cNvSpPr>
          <p:nvPr/>
        </p:nvSpPr>
        <p:spPr>
          <a:xfrm>
            <a:off x="9125583" y="1567496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terrupción por inconformidad de la empresa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327D693C-6B26-4CA7-B9E0-0B75F2871C29}"/>
              </a:ext>
            </a:extLst>
          </p:cNvPr>
          <p:cNvSpPr/>
          <p:nvPr/>
        </p:nvSpPr>
        <p:spPr>
          <a:xfrm>
            <a:off x="2185416" y="5596128"/>
            <a:ext cx="2029968" cy="320040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309593274"/>
      </p:ext>
    </p:extLst>
  </p:cSld>
  <p:clrMapOvr>
    <a:masterClrMapping/>
  </p:clrMapOvr>
  <p:transition spd="med"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CA1BB4-3168-DF02-F535-B29B9DD02F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C6DF965-4FB9-A0D8-65F8-64FAF3715EB4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AB9C180-616D-9C82-7643-33BBBC21F726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D1793F6-D35F-BE36-B174-019CA3156F20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26110FFB-E5E6-35FA-5F54-884312C18323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Marcador de contenido 3">
            <a:extLst>
              <a:ext uri="{FF2B5EF4-FFF2-40B4-BE49-F238E27FC236}">
                <a16:creationId xmlns:a16="http://schemas.microsoft.com/office/drawing/2014/main" id="{472EAB6D-8C65-2B3F-8DA4-1B7CFF5ACC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5257" y="1331520"/>
            <a:ext cx="5019230" cy="4708386"/>
          </a:xfrm>
          <a:prstGeom prst="rect">
            <a:avLst/>
          </a:prstGeom>
        </p:spPr>
      </p:pic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C5BB08D1-D0D1-B1AA-0D85-FE54B7812DCD}"/>
              </a:ext>
            </a:extLst>
          </p:cNvPr>
          <p:cNvSpPr txBox="1">
            <a:spLocks/>
          </p:cNvSpPr>
          <p:nvPr/>
        </p:nvSpPr>
        <p:spPr>
          <a:xfrm>
            <a:off x="9186089" y="2157762"/>
            <a:ext cx="2858542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ucede con las solicitudes que requieren aprobación de la  Secretaría regional ministerial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Generalmente con los cursos de protección radiológica, los cuales son solicitados con un mínimo de 40 días hábiles antes de la fecha de ejecución y a pesar de ese plazo SEREMI no entrega documento a OTEC para que el curso sea valido y pueda ejecutarse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n el caso de la recuperación del servicio, la secretaría regional nos mandata a solicitarla nuevamente en 40 días hábiles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BDCB318-5298-5ED4-0423-4C9B80CB0F00}"/>
              </a:ext>
            </a:extLst>
          </p:cNvPr>
          <p:cNvSpPr txBox="1">
            <a:spLocks/>
          </p:cNvSpPr>
          <p:nvPr/>
        </p:nvSpPr>
        <p:spPr>
          <a:xfrm>
            <a:off x="9186089" y="1331520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in resolución de SEREMI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3F84361D-7253-5B15-F829-3DEFFC170D8C}"/>
              </a:ext>
            </a:extLst>
          </p:cNvPr>
          <p:cNvSpPr/>
          <p:nvPr/>
        </p:nvSpPr>
        <p:spPr>
          <a:xfrm>
            <a:off x="1953266" y="5596128"/>
            <a:ext cx="2170678" cy="320040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744374260"/>
      </p:ext>
    </p:extLst>
  </p:cSld>
  <p:clrMapOvr>
    <a:masterClrMapping/>
  </p:clrMapOvr>
  <p:transition spd="med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13A82E-8892-B199-56CB-C88EAC8035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135631D-6C46-8062-B764-BC02E679B3C0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30398E7-084F-783C-0FED-0D8C268DD8EF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55E073A-1B1F-FAEE-356B-6844BF5E68E6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20DFB4E8-D4EE-2E50-7B49-D67A43D62C97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Marcador de contenido 3">
            <a:extLst>
              <a:ext uri="{FF2B5EF4-FFF2-40B4-BE49-F238E27FC236}">
                <a16:creationId xmlns:a16="http://schemas.microsoft.com/office/drawing/2014/main" id="{9E0625E0-871C-5786-D724-B057B73820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285" y="1360714"/>
            <a:ext cx="4996578" cy="4679192"/>
          </a:xfrm>
          <a:prstGeom prst="rect">
            <a:avLst/>
          </a:prstGeom>
        </p:spPr>
      </p:pic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F59E5637-41FB-328D-73BF-8D2AD8DB8E31}"/>
              </a:ext>
            </a:extLst>
          </p:cNvPr>
          <p:cNvSpPr txBox="1">
            <a:spLocks/>
          </p:cNvSpPr>
          <p:nvPr/>
        </p:nvSpPr>
        <p:spPr>
          <a:xfrm>
            <a:off x="9160753" y="2063620"/>
            <a:ext cx="2773339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e refiere a las solicitudes que requieren aprobación de la  Secretaría regional ministerial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Generalmente con los cursos de protección radiológica, los cuales son solicitados con un mínimo de 40 días hábiles antes de la fecha de ejecución y a pesar de ese plazo SEREMI se retrasa en la entrega de documento a OTEC para que el curso sea valido y pueda ejecutarse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n el caso de la recuperación del servicio, la secretaría regional nos mandata a solicitarla nuevamente en 40 días hábiles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77C6F92A-6847-C071-DF64-976070817DD2}"/>
              </a:ext>
            </a:extLst>
          </p:cNvPr>
          <p:cNvSpPr txBox="1">
            <a:spLocks/>
          </p:cNvSpPr>
          <p:nvPr/>
        </p:nvSpPr>
        <p:spPr>
          <a:xfrm>
            <a:off x="9160753" y="1360714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traso resolución SEREMI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AFBFDAB5-918A-C749-DD80-F8B19CC2BFB2}"/>
              </a:ext>
            </a:extLst>
          </p:cNvPr>
          <p:cNvSpPr/>
          <p:nvPr/>
        </p:nvSpPr>
        <p:spPr>
          <a:xfrm>
            <a:off x="2093976" y="5605272"/>
            <a:ext cx="2139696" cy="329126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217226711"/>
      </p:ext>
    </p:extLst>
  </p:cSld>
  <p:clrMapOvr>
    <a:masterClrMapping/>
  </p:clrMapOvr>
  <p:transition spd="med"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DF845B-A13C-4284-EE7E-F35AD3F007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8AF73A4-4AA1-4B84-1898-5E18B71FEA7F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36E3DAD-E5BA-9911-1C3A-775EBD7FFE56}"/>
              </a:ext>
            </a:extLst>
          </p:cNvPr>
          <p:cNvSpPr txBox="1"/>
          <p:nvPr/>
        </p:nvSpPr>
        <p:spPr>
          <a:xfrm>
            <a:off x="142754" y="401019"/>
            <a:ext cx="6394938" cy="28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aterial de apoyo - Estados Solicitudes Salesforce 202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CB7B0C5-F197-BE4D-713E-F5EBD80C034B}"/>
              </a:ext>
            </a:extLst>
          </p:cNvPr>
          <p:cNvSpPr txBox="1"/>
          <p:nvPr/>
        </p:nvSpPr>
        <p:spPr>
          <a:xfrm>
            <a:off x="142754" y="659394"/>
            <a:ext cx="6394938" cy="258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peraciones Capacitación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C0ADE8AE-B2A9-5B8A-B62A-6EBC84118622}"/>
              </a:ext>
            </a:extLst>
          </p:cNvPr>
          <p:cNvSpPr txBox="1">
            <a:spLocks/>
          </p:cNvSpPr>
          <p:nvPr/>
        </p:nvSpPr>
        <p:spPr>
          <a:xfrm>
            <a:off x="9005001" y="2169127"/>
            <a:ext cx="3039630" cy="44643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Marcador de contenido 3">
            <a:extLst>
              <a:ext uri="{FF2B5EF4-FFF2-40B4-BE49-F238E27FC236}">
                <a16:creationId xmlns:a16="http://schemas.microsoft.com/office/drawing/2014/main" id="{B8937F16-D6CE-FEBC-2211-DB5187DB12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6771" y="1340579"/>
            <a:ext cx="5038264" cy="4699327"/>
          </a:xfrm>
          <a:prstGeom prst="rect">
            <a:avLst/>
          </a:prstGeom>
        </p:spPr>
      </p:pic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26C3ED20-BC89-557A-F056-31D66AA6DAE5}"/>
              </a:ext>
            </a:extLst>
          </p:cNvPr>
          <p:cNvSpPr txBox="1">
            <a:spLocks/>
          </p:cNvSpPr>
          <p:nvPr/>
        </p:nvSpPr>
        <p:spPr>
          <a:xfrm>
            <a:off x="9160752" y="1946390"/>
            <a:ext cx="2714725" cy="38707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ste quiebre corresponde a cuando se ejecuta de forma incompleta un curso con más de un módulo ya sea por inasistencia del facilitador o entrega de información deficiente.</a:t>
            </a: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ara recuperación, experto ACHS debe solicitar a la empresa la fecha y hora que ellos estimen conveniente par recuperar el servicio, creando una solicitud nueva y enviándola por correo al supervisor(a) de capacitaciones con copia al coordinador.</a:t>
            </a:r>
            <a:endParaRPr kumimoji="0" lang="x-none" sz="12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x-none" sz="14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149F9F4A-5BCD-A92C-219A-0E9F7AA2C462}"/>
              </a:ext>
            </a:extLst>
          </p:cNvPr>
          <p:cNvSpPr txBox="1">
            <a:spLocks/>
          </p:cNvSpPr>
          <p:nvPr/>
        </p:nvSpPr>
        <p:spPr>
          <a:xfrm>
            <a:off x="9160753" y="1340579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400" b="1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ódulos sin ejecución</a:t>
            </a:r>
            <a:endParaRPr kumimoji="0" lang="x-none" sz="1400" b="1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08078EE9-3CF0-E64E-1876-591708E591DD}"/>
              </a:ext>
            </a:extLst>
          </p:cNvPr>
          <p:cNvSpPr/>
          <p:nvPr/>
        </p:nvSpPr>
        <p:spPr>
          <a:xfrm>
            <a:off x="2103120" y="5586985"/>
            <a:ext cx="2157984" cy="347472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305205497"/>
      </p:ext>
    </p:extLst>
  </p:cSld>
  <p:clrMapOvr>
    <a:masterClrMapping/>
  </p:clrMapOvr>
  <p:transition spd="med"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4401881" y="4688957"/>
            <a:ext cx="11257854" cy="95245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CL" sz="3600" b="1" kern="1200" spc="-15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00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Helvetica Neue"/>
              </a:rPr>
              <a:t>PROCESO DE SOLICITUD DE CURSOS CERRADOS</a:t>
            </a:r>
            <a:r>
              <a:rPr lang="en-US" sz="200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kumimoji="0" lang="es-CL" sz="200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Helvetica Neue"/>
              </a:rPr>
              <a:t>EMPRESA</a:t>
            </a:r>
          </a:p>
        </p:txBody>
      </p:sp>
    </p:spTree>
    <p:extLst>
      <p:ext uri="{BB962C8B-B14F-4D97-AF65-F5344CB8AC3E}">
        <p14:creationId xmlns:p14="http://schemas.microsoft.com/office/powerpoint/2010/main" val="2995638025"/>
      </p:ext>
    </p:extLst>
  </p:cSld>
  <p:clrMapOvr>
    <a:masterClrMapping/>
  </p:clrMapOvr>
  <p:transition spd="med"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440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415" imgH="416" progId="TCLayout.ActiveDocument.1">
                  <p:embed/>
                </p:oleObj>
              </mc:Choice>
              <mc:Fallback>
                <p:oleObj name="Diapositiva de think-cell" r:id="rId10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ítulo 1">
            <a:extLst>
              <a:ext uri="{FF2B5EF4-FFF2-40B4-BE49-F238E27FC236}">
                <a16:creationId xmlns:a16="http://schemas.microsoft.com/office/drawing/2014/main" id="{43E596C4-73B5-9C46-8898-E2A4FFC3AD7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5600" y="447446"/>
            <a:ext cx="8799513" cy="820738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r>
              <a:rPr lang="es-CL" sz="1800">
                <a:solidFill>
                  <a:schemeClr val="bg2"/>
                </a:solidFill>
              </a:rPr>
              <a:t>Proceso Solicitud de cursos cerrados</a:t>
            </a:r>
            <a:endParaRPr lang="es-CL" sz="1800" b="0">
              <a:solidFill>
                <a:schemeClr val="bg2"/>
              </a:solidFill>
            </a:endParaRPr>
          </a:p>
        </p:txBody>
      </p:sp>
      <p:grpSp>
        <p:nvGrpSpPr>
          <p:cNvPr id="100" name="Grupo 99"/>
          <p:cNvGrpSpPr/>
          <p:nvPr/>
        </p:nvGrpSpPr>
        <p:grpSpPr>
          <a:xfrm>
            <a:off x="6276058" y="4875424"/>
            <a:ext cx="1022351" cy="1030288"/>
            <a:chOff x="8674605" y="960438"/>
            <a:chExt cx="1022296" cy="1030790"/>
          </a:xfrm>
        </p:grpSpPr>
        <p:grpSp>
          <p:nvGrpSpPr>
            <p:cNvPr id="108" name="Google Shape;7414;p78"/>
            <p:cNvGrpSpPr/>
            <p:nvPr/>
          </p:nvGrpSpPr>
          <p:grpSpPr>
            <a:xfrm>
              <a:off x="9125584" y="1297190"/>
              <a:ext cx="390088" cy="357261"/>
              <a:chOff x="-37804925" y="3953450"/>
              <a:chExt cx="315075" cy="318225"/>
            </a:xfrm>
            <a:solidFill>
              <a:srgbClr val="8A004A"/>
            </a:solidFill>
          </p:grpSpPr>
          <p:sp>
            <p:nvSpPr>
              <p:cNvPr id="109" name="Google Shape;7415;p78"/>
              <p:cNvSpPr/>
              <p:nvPr/>
            </p:nvSpPr>
            <p:spPr>
              <a:xfrm>
                <a:off x="-37614300" y="3955025"/>
                <a:ext cx="124450" cy="186200"/>
              </a:xfrm>
              <a:custGeom>
                <a:avLst/>
                <a:gdLst/>
                <a:ahLst/>
                <a:cxnLst/>
                <a:rect l="l" t="t" r="r" b="b"/>
                <a:pathLst>
                  <a:path w="4978" h="7448" extrusionOk="0">
                    <a:moveTo>
                      <a:pt x="2489" y="820"/>
                    </a:moveTo>
                    <a:cubicBezTo>
                      <a:pt x="3403" y="820"/>
                      <a:pt x="4127" y="1576"/>
                      <a:pt x="4127" y="2490"/>
                    </a:cubicBezTo>
                    <a:cubicBezTo>
                      <a:pt x="4127" y="3372"/>
                      <a:pt x="3403" y="4128"/>
                      <a:pt x="2489" y="4128"/>
                    </a:cubicBezTo>
                    <a:cubicBezTo>
                      <a:pt x="1575" y="4128"/>
                      <a:pt x="819" y="3372"/>
                      <a:pt x="819" y="2490"/>
                    </a:cubicBezTo>
                    <a:cubicBezTo>
                      <a:pt x="819" y="1576"/>
                      <a:pt x="1575" y="820"/>
                      <a:pt x="2489" y="820"/>
                    </a:cubicBezTo>
                    <a:close/>
                    <a:moveTo>
                      <a:pt x="2489" y="1"/>
                    </a:moveTo>
                    <a:cubicBezTo>
                      <a:pt x="1103" y="1"/>
                      <a:pt x="0" y="1104"/>
                      <a:pt x="0" y="2490"/>
                    </a:cubicBezTo>
                    <a:cubicBezTo>
                      <a:pt x="0" y="3214"/>
                      <a:pt x="315" y="3845"/>
                      <a:pt x="819" y="4317"/>
                    </a:cubicBezTo>
                    <a:lnTo>
                      <a:pt x="819" y="7058"/>
                    </a:lnTo>
                    <a:cubicBezTo>
                      <a:pt x="819" y="7287"/>
                      <a:pt x="1012" y="7448"/>
                      <a:pt x="1225" y="7448"/>
                    </a:cubicBezTo>
                    <a:cubicBezTo>
                      <a:pt x="1334" y="7448"/>
                      <a:pt x="1448" y="7406"/>
                      <a:pt x="1544" y="7310"/>
                    </a:cubicBezTo>
                    <a:lnTo>
                      <a:pt x="2489" y="6365"/>
                    </a:lnTo>
                    <a:lnTo>
                      <a:pt x="3434" y="7310"/>
                    </a:lnTo>
                    <a:cubicBezTo>
                      <a:pt x="3530" y="7406"/>
                      <a:pt x="3640" y="7448"/>
                      <a:pt x="3744" y="7448"/>
                    </a:cubicBezTo>
                    <a:cubicBezTo>
                      <a:pt x="3948" y="7448"/>
                      <a:pt x="4127" y="7287"/>
                      <a:pt x="4127" y="7058"/>
                    </a:cubicBezTo>
                    <a:lnTo>
                      <a:pt x="4127" y="4317"/>
                    </a:lnTo>
                    <a:cubicBezTo>
                      <a:pt x="4663" y="3845"/>
                      <a:pt x="4978" y="3214"/>
                      <a:pt x="4978" y="2490"/>
                    </a:cubicBezTo>
                    <a:cubicBezTo>
                      <a:pt x="4978" y="1104"/>
                      <a:pt x="3875" y="1"/>
                      <a:pt x="248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  <p:sp>
            <p:nvSpPr>
              <p:cNvPr id="110" name="Google Shape;7416;p78"/>
              <p:cNvSpPr/>
              <p:nvPr/>
            </p:nvSpPr>
            <p:spPr>
              <a:xfrm>
                <a:off x="-37761600" y="4230700"/>
                <a:ext cx="270175" cy="40975"/>
              </a:xfrm>
              <a:custGeom>
                <a:avLst/>
                <a:gdLst/>
                <a:ahLst/>
                <a:cxnLst/>
                <a:rect l="l" t="t" r="r" b="b"/>
                <a:pathLst>
                  <a:path w="10807" h="1639" extrusionOk="0">
                    <a:moveTo>
                      <a:pt x="1450" y="1"/>
                    </a:moveTo>
                    <a:cubicBezTo>
                      <a:pt x="1292" y="788"/>
                      <a:pt x="662" y="1387"/>
                      <a:pt x="1" y="1639"/>
                    </a:cubicBezTo>
                    <a:lnTo>
                      <a:pt x="8822" y="1639"/>
                    </a:lnTo>
                    <a:cubicBezTo>
                      <a:pt x="9799" y="1639"/>
                      <a:pt x="10649" y="946"/>
                      <a:pt x="1080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  <p:sp>
            <p:nvSpPr>
              <p:cNvPr id="111" name="Google Shape;7417;p78"/>
              <p:cNvSpPr/>
              <p:nvPr/>
            </p:nvSpPr>
            <p:spPr>
              <a:xfrm>
                <a:off x="-37804925" y="3953450"/>
                <a:ext cx="274125" cy="295675"/>
              </a:xfrm>
              <a:custGeom>
                <a:avLst/>
                <a:gdLst/>
                <a:ahLst/>
                <a:cxnLst/>
                <a:rect l="l" t="t" r="r" b="b"/>
                <a:pathLst>
                  <a:path w="10965" h="11827" extrusionOk="0">
                    <a:moveTo>
                      <a:pt x="379" y="1"/>
                    </a:moveTo>
                    <a:cubicBezTo>
                      <a:pt x="158" y="1"/>
                      <a:pt x="1" y="221"/>
                      <a:pt x="1" y="411"/>
                    </a:cubicBezTo>
                    <a:lnTo>
                      <a:pt x="1" y="10618"/>
                    </a:lnTo>
                    <a:cubicBezTo>
                      <a:pt x="1" y="11280"/>
                      <a:pt x="537" y="11815"/>
                      <a:pt x="1198" y="11815"/>
                    </a:cubicBezTo>
                    <a:cubicBezTo>
                      <a:pt x="1247" y="11823"/>
                      <a:pt x="1295" y="11826"/>
                      <a:pt x="1342" y="11826"/>
                    </a:cubicBezTo>
                    <a:cubicBezTo>
                      <a:pt x="1912" y="11826"/>
                      <a:pt x="2395" y="11318"/>
                      <a:pt x="2395" y="10650"/>
                    </a:cubicBezTo>
                    <a:cubicBezTo>
                      <a:pt x="2395" y="10398"/>
                      <a:pt x="2584" y="10272"/>
                      <a:pt x="2836" y="10272"/>
                    </a:cubicBezTo>
                    <a:lnTo>
                      <a:pt x="10965" y="10272"/>
                    </a:lnTo>
                    <a:lnTo>
                      <a:pt x="10965" y="8255"/>
                    </a:lnTo>
                    <a:cubicBezTo>
                      <a:pt x="10807" y="8161"/>
                      <a:pt x="10650" y="8098"/>
                      <a:pt x="10492" y="7972"/>
                    </a:cubicBezTo>
                    <a:lnTo>
                      <a:pt x="10146" y="7625"/>
                    </a:lnTo>
                    <a:lnTo>
                      <a:pt x="9799" y="7972"/>
                    </a:lnTo>
                    <a:cubicBezTo>
                      <a:pt x="9547" y="8224"/>
                      <a:pt x="9232" y="8318"/>
                      <a:pt x="8917" y="8318"/>
                    </a:cubicBezTo>
                    <a:cubicBezTo>
                      <a:pt x="8255" y="8318"/>
                      <a:pt x="7720" y="7783"/>
                      <a:pt x="7720" y="7058"/>
                    </a:cubicBezTo>
                    <a:lnTo>
                      <a:pt x="7720" y="4664"/>
                    </a:lnTo>
                    <a:cubicBezTo>
                      <a:pt x="7184" y="4065"/>
                      <a:pt x="6869" y="3309"/>
                      <a:pt x="6869" y="2490"/>
                    </a:cubicBezTo>
                    <a:cubicBezTo>
                      <a:pt x="6869" y="1513"/>
                      <a:pt x="7310" y="600"/>
                      <a:pt x="803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</p:grpSp>
        <p:sp>
          <p:nvSpPr>
            <p:cNvPr id="102" name="Elipse 101">
              <a:extLst>
                <a:ext uri="{FF2B5EF4-FFF2-40B4-BE49-F238E27FC236}">
                  <a16:creationId xmlns:a16="http://schemas.microsoft.com/office/drawing/2014/main" id="{EDF0870B-CA90-0E4F-BA26-4EBBC391798A}"/>
                </a:ext>
              </a:extLst>
            </p:cNvPr>
            <p:cNvSpPr/>
            <p:nvPr/>
          </p:nvSpPr>
          <p:spPr>
            <a:xfrm>
              <a:off x="8674605" y="960438"/>
              <a:ext cx="1022296" cy="1030790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36000" rIns="72000" bIns="36000" rtlCol="0" anchor="ctr"/>
            <a:lstStyle/>
            <a:p>
              <a:pPr marL="0" marR="0" lvl="0" indent="0" algn="ctr" defTabSz="9332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  <a:sym typeface="Helvetica Neue"/>
                </a:rPr>
                <a:t>Texto</a:t>
              </a:r>
            </a:p>
          </p:txBody>
        </p:sp>
        <p:grpSp>
          <p:nvGrpSpPr>
            <p:cNvPr id="103" name="Google Shape;7414;p78"/>
            <p:cNvGrpSpPr/>
            <p:nvPr/>
          </p:nvGrpSpPr>
          <p:grpSpPr>
            <a:xfrm>
              <a:off x="9125582" y="1297190"/>
              <a:ext cx="390088" cy="357261"/>
              <a:chOff x="-37804925" y="3953450"/>
              <a:chExt cx="315075" cy="318225"/>
            </a:xfrm>
            <a:solidFill>
              <a:srgbClr val="8A004A"/>
            </a:solidFill>
          </p:grpSpPr>
          <p:sp>
            <p:nvSpPr>
              <p:cNvPr id="104" name="Google Shape;7415;p78"/>
              <p:cNvSpPr/>
              <p:nvPr/>
            </p:nvSpPr>
            <p:spPr>
              <a:xfrm>
                <a:off x="-37614300" y="3955025"/>
                <a:ext cx="124450" cy="186200"/>
              </a:xfrm>
              <a:custGeom>
                <a:avLst/>
                <a:gdLst/>
                <a:ahLst/>
                <a:cxnLst/>
                <a:rect l="l" t="t" r="r" b="b"/>
                <a:pathLst>
                  <a:path w="4978" h="7448" extrusionOk="0">
                    <a:moveTo>
                      <a:pt x="2489" y="820"/>
                    </a:moveTo>
                    <a:cubicBezTo>
                      <a:pt x="3403" y="820"/>
                      <a:pt x="4127" y="1576"/>
                      <a:pt x="4127" y="2490"/>
                    </a:cubicBezTo>
                    <a:cubicBezTo>
                      <a:pt x="4127" y="3372"/>
                      <a:pt x="3403" y="4128"/>
                      <a:pt x="2489" y="4128"/>
                    </a:cubicBezTo>
                    <a:cubicBezTo>
                      <a:pt x="1575" y="4128"/>
                      <a:pt x="819" y="3372"/>
                      <a:pt x="819" y="2490"/>
                    </a:cubicBezTo>
                    <a:cubicBezTo>
                      <a:pt x="819" y="1576"/>
                      <a:pt x="1575" y="820"/>
                      <a:pt x="2489" y="820"/>
                    </a:cubicBezTo>
                    <a:close/>
                    <a:moveTo>
                      <a:pt x="2489" y="1"/>
                    </a:moveTo>
                    <a:cubicBezTo>
                      <a:pt x="1103" y="1"/>
                      <a:pt x="0" y="1104"/>
                      <a:pt x="0" y="2490"/>
                    </a:cubicBezTo>
                    <a:cubicBezTo>
                      <a:pt x="0" y="3214"/>
                      <a:pt x="315" y="3845"/>
                      <a:pt x="819" y="4317"/>
                    </a:cubicBezTo>
                    <a:lnTo>
                      <a:pt x="819" y="7058"/>
                    </a:lnTo>
                    <a:cubicBezTo>
                      <a:pt x="819" y="7287"/>
                      <a:pt x="1012" y="7448"/>
                      <a:pt x="1225" y="7448"/>
                    </a:cubicBezTo>
                    <a:cubicBezTo>
                      <a:pt x="1334" y="7448"/>
                      <a:pt x="1448" y="7406"/>
                      <a:pt x="1544" y="7310"/>
                    </a:cubicBezTo>
                    <a:lnTo>
                      <a:pt x="2489" y="6365"/>
                    </a:lnTo>
                    <a:lnTo>
                      <a:pt x="3434" y="7310"/>
                    </a:lnTo>
                    <a:cubicBezTo>
                      <a:pt x="3530" y="7406"/>
                      <a:pt x="3640" y="7448"/>
                      <a:pt x="3744" y="7448"/>
                    </a:cubicBezTo>
                    <a:cubicBezTo>
                      <a:pt x="3948" y="7448"/>
                      <a:pt x="4127" y="7287"/>
                      <a:pt x="4127" y="7058"/>
                    </a:cubicBezTo>
                    <a:lnTo>
                      <a:pt x="4127" y="4317"/>
                    </a:lnTo>
                    <a:cubicBezTo>
                      <a:pt x="4663" y="3845"/>
                      <a:pt x="4978" y="3214"/>
                      <a:pt x="4978" y="2490"/>
                    </a:cubicBezTo>
                    <a:cubicBezTo>
                      <a:pt x="4978" y="1104"/>
                      <a:pt x="3875" y="1"/>
                      <a:pt x="2489" y="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  <p:sp>
            <p:nvSpPr>
              <p:cNvPr id="105" name="Google Shape;7416;p78"/>
              <p:cNvSpPr/>
              <p:nvPr/>
            </p:nvSpPr>
            <p:spPr>
              <a:xfrm>
                <a:off x="-37761600" y="4230700"/>
                <a:ext cx="270175" cy="40975"/>
              </a:xfrm>
              <a:custGeom>
                <a:avLst/>
                <a:gdLst/>
                <a:ahLst/>
                <a:cxnLst/>
                <a:rect l="l" t="t" r="r" b="b"/>
                <a:pathLst>
                  <a:path w="10807" h="1639" extrusionOk="0">
                    <a:moveTo>
                      <a:pt x="1450" y="1"/>
                    </a:moveTo>
                    <a:cubicBezTo>
                      <a:pt x="1292" y="788"/>
                      <a:pt x="662" y="1387"/>
                      <a:pt x="1" y="1639"/>
                    </a:cubicBezTo>
                    <a:lnTo>
                      <a:pt x="8822" y="1639"/>
                    </a:lnTo>
                    <a:cubicBezTo>
                      <a:pt x="9799" y="1639"/>
                      <a:pt x="10649" y="946"/>
                      <a:pt x="10807" y="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  <p:sp>
            <p:nvSpPr>
              <p:cNvPr id="106" name="Google Shape;7417;p78"/>
              <p:cNvSpPr/>
              <p:nvPr/>
            </p:nvSpPr>
            <p:spPr>
              <a:xfrm>
                <a:off x="-37804925" y="3953450"/>
                <a:ext cx="274125" cy="295675"/>
              </a:xfrm>
              <a:custGeom>
                <a:avLst/>
                <a:gdLst/>
                <a:ahLst/>
                <a:cxnLst/>
                <a:rect l="l" t="t" r="r" b="b"/>
                <a:pathLst>
                  <a:path w="10965" h="11827" extrusionOk="0">
                    <a:moveTo>
                      <a:pt x="379" y="1"/>
                    </a:moveTo>
                    <a:cubicBezTo>
                      <a:pt x="158" y="1"/>
                      <a:pt x="1" y="221"/>
                      <a:pt x="1" y="411"/>
                    </a:cubicBezTo>
                    <a:lnTo>
                      <a:pt x="1" y="10618"/>
                    </a:lnTo>
                    <a:cubicBezTo>
                      <a:pt x="1" y="11280"/>
                      <a:pt x="537" y="11815"/>
                      <a:pt x="1198" y="11815"/>
                    </a:cubicBezTo>
                    <a:cubicBezTo>
                      <a:pt x="1247" y="11823"/>
                      <a:pt x="1295" y="11826"/>
                      <a:pt x="1342" y="11826"/>
                    </a:cubicBezTo>
                    <a:cubicBezTo>
                      <a:pt x="1912" y="11826"/>
                      <a:pt x="2395" y="11318"/>
                      <a:pt x="2395" y="10650"/>
                    </a:cubicBezTo>
                    <a:cubicBezTo>
                      <a:pt x="2395" y="10398"/>
                      <a:pt x="2584" y="10272"/>
                      <a:pt x="2836" y="10272"/>
                    </a:cubicBezTo>
                    <a:lnTo>
                      <a:pt x="10965" y="10272"/>
                    </a:lnTo>
                    <a:lnTo>
                      <a:pt x="10965" y="8255"/>
                    </a:lnTo>
                    <a:cubicBezTo>
                      <a:pt x="10807" y="8161"/>
                      <a:pt x="10650" y="8098"/>
                      <a:pt x="10492" y="7972"/>
                    </a:cubicBezTo>
                    <a:lnTo>
                      <a:pt x="10146" y="7625"/>
                    </a:lnTo>
                    <a:lnTo>
                      <a:pt x="9799" y="7972"/>
                    </a:lnTo>
                    <a:cubicBezTo>
                      <a:pt x="9547" y="8224"/>
                      <a:pt x="9232" y="8318"/>
                      <a:pt x="8917" y="8318"/>
                    </a:cubicBezTo>
                    <a:cubicBezTo>
                      <a:pt x="8255" y="8318"/>
                      <a:pt x="7720" y="7783"/>
                      <a:pt x="7720" y="7058"/>
                    </a:cubicBezTo>
                    <a:lnTo>
                      <a:pt x="7720" y="4664"/>
                    </a:lnTo>
                    <a:cubicBezTo>
                      <a:pt x="7184" y="4065"/>
                      <a:pt x="6869" y="3309"/>
                      <a:pt x="6869" y="2490"/>
                    </a:cubicBezTo>
                    <a:cubicBezTo>
                      <a:pt x="6869" y="1513"/>
                      <a:pt x="7310" y="600"/>
                      <a:pt x="8035" y="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</p:grpSp>
      </p:grpSp>
      <p:cxnSp>
        <p:nvCxnSpPr>
          <p:cNvPr id="113" name="Conector recto 112"/>
          <p:cNvCxnSpPr>
            <a:cxnSpLocks/>
            <a:stCxn id="158" idx="6"/>
          </p:cNvCxnSpPr>
          <p:nvPr/>
        </p:nvCxnSpPr>
        <p:spPr>
          <a:xfrm>
            <a:off x="5646435" y="5393158"/>
            <a:ext cx="601361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4" name="AutoShape 20">
            <a:extLst>
              <a:ext uri="{FF2B5EF4-FFF2-40B4-BE49-F238E27FC236}">
                <a16:creationId xmlns:a16="http://schemas.microsoft.com/office/drawing/2014/main" id="{A1045FFC-9BAD-A04F-89B8-5434181DB64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39745" y="5060763"/>
            <a:ext cx="992234" cy="622300"/>
          </a:xfrm>
          <a:prstGeom prst="homePlate">
            <a:avLst>
              <a:gd name="adj" fmla="val 19325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marL="0" marR="0" lvl="0" indent="0" algn="ctr" defTabSz="9332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  <a:sym typeface="Helvetica Neue"/>
              </a:rPr>
              <a:t>PROCESO</a:t>
            </a:r>
          </a:p>
        </p:txBody>
      </p:sp>
      <p:sp>
        <p:nvSpPr>
          <p:cNvPr id="131" name="Marcador de texto 2">
            <a:extLst>
              <a:ext uri="{FF2B5EF4-FFF2-40B4-BE49-F238E27FC236}">
                <a16:creationId xmlns:a16="http://schemas.microsoft.com/office/drawing/2014/main" id="{000DEF8F-C4BA-E04B-A41A-F15C0F1F9CC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650954" y="4715948"/>
            <a:ext cx="1179513" cy="306388"/>
          </a:xfrm>
          <a:prstGeom prst="roundRect">
            <a:avLst>
              <a:gd name="adj" fmla="val 49741"/>
            </a:avLst>
          </a:prstGeom>
          <a:solidFill>
            <a:schemeClr val="bg2"/>
          </a:solidFill>
          <a:ln w="9525" algn="ctr">
            <a:solidFill>
              <a:schemeClr val="bg1"/>
            </a:solidFill>
          </a:ln>
          <a:effectLst/>
        </p:spPr>
        <p:txBody>
          <a:bodyPr vert="horz" wrap="none" lIns="0" tIns="12700" rIns="0" bIns="1270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CL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PARTICIPANTE</a:t>
            </a:r>
          </a:p>
        </p:txBody>
      </p:sp>
      <p:sp>
        <p:nvSpPr>
          <p:cNvPr id="133" name="CuadroTexto 132"/>
          <p:cNvSpPr txBox="1"/>
          <p:nvPr/>
        </p:nvSpPr>
        <p:spPr>
          <a:xfrm>
            <a:off x="2984434" y="5948877"/>
            <a:ext cx="132863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Revisión de solicitu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- Aprobació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- Rechazo 	 	 </a:t>
            </a:r>
          </a:p>
        </p:txBody>
      </p:sp>
      <p:sp>
        <p:nvSpPr>
          <p:cNvPr id="134" name="CuadroTexto 133"/>
          <p:cNvSpPr txBox="1"/>
          <p:nvPr/>
        </p:nvSpPr>
        <p:spPr>
          <a:xfrm>
            <a:off x="4534298" y="5948877"/>
            <a:ext cx="167618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s-CL" sz="1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Envío correos de confirmación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s-CL" sz="1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Desarrollo de cursos (presencial y Streaming)</a:t>
            </a:r>
          </a:p>
        </p:txBody>
      </p:sp>
      <p:sp>
        <p:nvSpPr>
          <p:cNvPr id="135" name="CuadroTexto 134"/>
          <p:cNvSpPr txBox="1"/>
          <p:nvPr/>
        </p:nvSpPr>
        <p:spPr>
          <a:xfrm>
            <a:off x="6101866" y="6102117"/>
            <a:ext cx="11612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Inicio y ejecució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del curso.</a:t>
            </a:r>
          </a:p>
        </p:txBody>
      </p:sp>
      <p:cxnSp>
        <p:nvCxnSpPr>
          <p:cNvPr id="137" name="Conector recto 136"/>
          <p:cNvCxnSpPr>
            <a:cxnSpLocks/>
            <a:stCxn id="139" idx="6"/>
            <a:endCxn id="145" idx="2"/>
          </p:cNvCxnSpPr>
          <p:nvPr/>
        </p:nvCxnSpPr>
        <p:spPr>
          <a:xfrm>
            <a:off x="2310345" y="5358836"/>
            <a:ext cx="633309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38" name="Grupo 137"/>
          <p:cNvGrpSpPr/>
          <p:nvPr/>
        </p:nvGrpSpPr>
        <p:grpSpPr>
          <a:xfrm>
            <a:off x="1287995" y="4843692"/>
            <a:ext cx="1022350" cy="1030288"/>
            <a:chOff x="2960688" y="1058863"/>
            <a:chExt cx="1085850" cy="1117600"/>
          </a:xfrm>
        </p:grpSpPr>
        <p:sp>
          <p:nvSpPr>
            <p:cNvPr id="139" name="Elipse 138">
              <a:extLst>
                <a:ext uri="{FF2B5EF4-FFF2-40B4-BE49-F238E27FC236}">
                  <a16:creationId xmlns:a16="http://schemas.microsoft.com/office/drawing/2014/main" id="{EDF0870B-CA90-0E4F-BA26-4EBBC391798A}"/>
                </a:ext>
              </a:extLst>
            </p:cNvPr>
            <p:cNvSpPr/>
            <p:nvPr/>
          </p:nvSpPr>
          <p:spPr>
            <a:xfrm>
              <a:off x="2960688" y="1058863"/>
              <a:ext cx="1085850" cy="1117600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36000" rIns="72000" bIns="36000" rtlCol="0" anchor="ctr"/>
            <a:lstStyle/>
            <a:p>
              <a:pPr marL="0" marR="0" lvl="0" indent="0" algn="ctr" defTabSz="9332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  <a:sym typeface="Helvetica Neue"/>
                </a:rPr>
                <a:t>Texto</a:t>
              </a:r>
            </a:p>
          </p:txBody>
        </p:sp>
        <p:grpSp>
          <p:nvGrpSpPr>
            <p:cNvPr id="140" name="Google Shape;7065;p77"/>
            <p:cNvGrpSpPr/>
            <p:nvPr/>
          </p:nvGrpSpPr>
          <p:grpSpPr>
            <a:xfrm>
              <a:off x="3286125" y="1427163"/>
              <a:ext cx="434975" cy="395288"/>
              <a:chOff x="5049725" y="2635825"/>
              <a:chExt cx="481825" cy="451700"/>
            </a:xfrm>
            <a:solidFill>
              <a:srgbClr val="8A004A"/>
            </a:solidFill>
          </p:grpSpPr>
          <p:sp>
            <p:nvSpPr>
              <p:cNvPr id="141" name="Google Shape;7066;p77"/>
              <p:cNvSpPr/>
              <p:nvPr/>
            </p:nvSpPr>
            <p:spPr>
              <a:xfrm>
                <a:off x="5135325" y="3031050"/>
                <a:ext cx="310550" cy="56475"/>
              </a:xfrm>
              <a:custGeom>
                <a:avLst/>
                <a:gdLst/>
                <a:ahLst/>
                <a:cxnLst/>
                <a:rect l="l" t="t" r="r" b="b"/>
                <a:pathLst>
                  <a:path w="12422" h="2259" extrusionOk="0">
                    <a:moveTo>
                      <a:pt x="2791" y="0"/>
                    </a:moveTo>
                    <a:lnTo>
                      <a:pt x="2415" y="1130"/>
                    </a:lnTo>
                    <a:lnTo>
                      <a:pt x="566" y="1130"/>
                    </a:lnTo>
                    <a:cubicBezTo>
                      <a:pt x="253" y="1130"/>
                      <a:pt x="0" y="1383"/>
                      <a:pt x="0" y="1696"/>
                    </a:cubicBezTo>
                    <a:cubicBezTo>
                      <a:pt x="0" y="2006"/>
                      <a:pt x="253" y="2259"/>
                      <a:pt x="566" y="2259"/>
                    </a:cubicBezTo>
                    <a:lnTo>
                      <a:pt x="11858" y="2259"/>
                    </a:lnTo>
                    <a:cubicBezTo>
                      <a:pt x="12169" y="2259"/>
                      <a:pt x="12421" y="2006"/>
                      <a:pt x="12421" y="1696"/>
                    </a:cubicBezTo>
                    <a:cubicBezTo>
                      <a:pt x="12421" y="1383"/>
                      <a:pt x="12169" y="1130"/>
                      <a:pt x="11858" y="1130"/>
                    </a:cubicBezTo>
                    <a:lnTo>
                      <a:pt x="10006" y="1130"/>
                    </a:lnTo>
                    <a:lnTo>
                      <a:pt x="963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435D7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  <p:sp>
            <p:nvSpPr>
              <p:cNvPr id="142" name="Google Shape;7067;p77"/>
              <p:cNvSpPr/>
              <p:nvPr/>
            </p:nvSpPr>
            <p:spPr>
              <a:xfrm>
                <a:off x="5049725" y="2946350"/>
                <a:ext cx="481825" cy="56500"/>
              </a:xfrm>
              <a:custGeom>
                <a:avLst/>
                <a:gdLst/>
                <a:ahLst/>
                <a:cxnLst/>
                <a:rect l="l" t="t" r="r" b="b"/>
                <a:pathLst>
                  <a:path w="19273" h="2260" extrusionOk="0">
                    <a:moveTo>
                      <a:pt x="0" y="1"/>
                    </a:moveTo>
                    <a:lnTo>
                      <a:pt x="0" y="567"/>
                    </a:lnTo>
                    <a:cubicBezTo>
                      <a:pt x="0" y="1500"/>
                      <a:pt x="756" y="2259"/>
                      <a:pt x="1693" y="2259"/>
                    </a:cubicBezTo>
                    <a:lnTo>
                      <a:pt x="17577" y="2259"/>
                    </a:lnTo>
                    <a:cubicBezTo>
                      <a:pt x="18513" y="2259"/>
                      <a:pt x="19269" y="1500"/>
                      <a:pt x="19272" y="567"/>
                    </a:cubicBezTo>
                    <a:lnTo>
                      <a:pt x="19272" y="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435D7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  <p:sp>
            <p:nvSpPr>
              <p:cNvPr id="143" name="Google Shape;7068;p77"/>
              <p:cNvSpPr/>
              <p:nvPr/>
            </p:nvSpPr>
            <p:spPr>
              <a:xfrm>
                <a:off x="5049725" y="2635825"/>
                <a:ext cx="481825" cy="282325"/>
              </a:xfrm>
              <a:custGeom>
                <a:avLst/>
                <a:gdLst/>
                <a:ahLst/>
                <a:cxnLst/>
                <a:rect l="l" t="t" r="r" b="b"/>
                <a:pathLst>
                  <a:path w="19273" h="11293" extrusionOk="0">
                    <a:moveTo>
                      <a:pt x="1693" y="0"/>
                    </a:moveTo>
                    <a:cubicBezTo>
                      <a:pt x="756" y="0"/>
                      <a:pt x="0" y="759"/>
                      <a:pt x="0" y="1696"/>
                    </a:cubicBezTo>
                    <a:lnTo>
                      <a:pt x="0" y="11293"/>
                    </a:lnTo>
                    <a:lnTo>
                      <a:pt x="19272" y="11293"/>
                    </a:lnTo>
                    <a:lnTo>
                      <a:pt x="19272" y="1696"/>
                    </a:lnTo>
                    <a:cubicBezTo>
                      <a:pt x="19269" y="759"/>
                      <a:pt x="18513" y="0"/>
                      <a:pt x="17577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435D7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</p:grpSp>
      </p:grpSp>
      <p:grpSp>
        <p:nvGrpSpPr>
          <p:cNvPr id="144" name="Grupo 143"/>
          <p:cNvGrpSpPr/>
          <p:nvPr/>
        </p:nvGrpSpPr>
        <p:grpSpPr>
          <a:xfrm>
            <a:off x="2943654" y="4843692"/>
            <a:ext cx="1022350" cy="1030288"/>
            <a:chOff x="4941888" y="1063625"/>
            <a:chExt cx="1085850" cy="1117534"/>
          </a:xfrm>
        </p:grpSpPr>
        <p:sp>
          <p:nvSpPr>
            <p:cNvPr id="145" name="Elipse 144">
              <a:extLst>
                <a:ext uri="{FF2B5EF4-FFF2-40B4-BE49-F238E27FC236}">
                  <a16:creationId xmlns:a16="http://schemas.microsoft.com/office/drawing/2014/main" id="{EDF0870B-CA90-0E4F-BA26-4EBBC391798A}"/>
                </a:ext>
              </a:extLst>
            </p:cNvPr>
            <p:cNvSpPr/>
            <p:nvPr/>
          </p:nvSpPr>
          <p:spPr>
            <a:xfrm>
              <a:off x="4941888" y="1063625"/>
              <a:ext cx="1085850" cy="1117534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36000" rIns="72000" bIns="36000" rtlCol="0" anchor="ctr"/>
            <a:lstStyle/>
            <a:p>
              <a:pPr marL="0" marR="0" lvl="0" indent="0" algn="ctr" defTabSz="9332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 Neue"/>
              </a:endParaRPr>
            </a:p>
          </p:txBody>
        </p:sp>
        <p:grpSp>
          <p:nvGrpSpPr>
            <p:cNvPr id="146" name="Grupo 145"/>
            <p:cNvGrpSpPr/>
            <p:nvPr/>
          </p:nvGrpSpPr>
          <p:grpSpPr>
            <a:xfrm>
              <a:off x="5276838" y="1430678"/>
              <a:ext cx="428624" cy="391837"/>
              <a:chOff x="5181889" y="1371828"/>
              <a:chExt cx="428457" cy="391714"/>
            </a:xfrm>
            <a:solidFill>
              <a:srgbClr val="8A004A"/>
            </a:solidFill>
          </p:grpSpPr>
          <p:sp>
            <p:nvSpPr>
              <p:cNvPr id="147" name="Google Shape;8060;p79"/>
              <p:cNvSpPr/>
              <p:nvPr/>
            </p:nvSpPr>
            <p:spPr>
              <a:xfrm>
                <a:off x="5219501" y="1371828"/>
                <a:ext cx="125387" cy="114634"/>
              </a:xfrm>
              <a:custGeom>
                <a:avLst/>
                <a:gdLst/>
                <a:ahLst/>
                <a:cxnLst/>
                <a:rect l="l" t="t" r="r" b="b"/>
                <a:pathLst>
                  <a:path w="3467" h="3467" extrusionOk="0">
                    <a:moveTo>
                      <a:pt x="1733" y="1"/>
                    </a:moveTo>
                    <a:cubicBezTo>
                      <a:pt x="788" y="1"/>
                      <a:pt x="1" y="788"/>
                      <a:pt x="1" y="1733"/>
                    </a:cubicBezTo>
                    <a:cubicBezTo>
                      <a:pt x="1" y="2679"/>
                      <a:pt x="788" y="3466"/>
                      <a:pt x="1733" y="3466"/>
                    </a:cubicBezTo>
                    <a:cubicBezTo>
                      <a:pt x="2678" y="3466"/>
                      <a:pt x="3466" y="2679"/>
                      <a:pt x="3466" y="1733"/>
                    </a:cubicBezTo>
                    <a:cubicBezTo>
                      <a:pt x="3466" y="788"/>
                      <a:pt x="2678" y="1"/>
                      <a:pt x="1733" y="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  <p:sp>
            <p:nvSpPr>
              <p:cNvPr id="148" name="Google Shape;8061;p79"/>
              <p:cNvSpPr/>
              <p:nvPr/>
            </p:nvSpPr>
            <p:spPr>
              <a:xfrm>
                <a:off x="5384707" y="1418713"/>
                <a:ext cx="150450" cy="89869"/>
              </a:xfrm>
              <a:custGeom>
                <a:avLst/>
                <a:gdLst/>
                <a:ahLst/>
                <a:cxnLst/>
                <a:rect l="l" t="t" r="r" b="b"/>
                <a:pathLst>
                  <a:path w="4160" h="2718" extrusionOk="0">
                    <a:moveTo>
                      <a:pt x="347" y="0"/>
                    </a:moveTo>
                    <a:cubicBezTo>
                      <a:pt x="158" y="0"/>
                      <a:pt x="1" y="158"/>
                      <a:pt x="1" y="347"/>
                    </a:cubicBezTo>
                    <a:cubicBezTo>
                      <a:pt x="1" y="536"/>
                      <a:pt x="95" y="662"/>
                      <a:pt x="316" y="662"/>
                    </a:cubicBezTo>
                    <a:lnTo>
                      <a:pt x="2395" y="662"/>
                    </a:lnTo>
                    <a:cubicBezTo>
                      <a:pt x="2584" y="662"/>
                      <a:pt x="2742" y="820"/>
                      <a:pt x="2742" y="1009"/>
                    </a:cubicBezTo>
                    <a:lnTo>
                      <a:pt x="2742" y="1576"/>
                    </a:lnTo>
                    <a:lnTo>
                      <a:pt x="2616" y="1450"/>
                    </a:lnTo>
                    <a:cubicBezTo>
                      <a:pt x="2568" y="1387"/>
                      <a:pt x="2482" y="1355"/>
                      <a:pt x="2391" y="1355"/>
                    </a:cubicBezTo>
                    <a:cubicBezTo>
                      <a:pt x="2301" y="1355"/>
                      <a:pt x="2206" y="1387"/>
                      <a:pt x="2143" y="1450"/>
                    </a:cubicBezTo>
                    <a:cubicBezTo>
                      <a:pt x="2049" y="1576"/>
                      <a:pt x="2049" y="1796"/>
                      <a:pt x="2143" y="1922"/>
                    </a:cubicBezTo>
                    <a:lnTo>
                      <a:pt x="2868" y="2647"/>
                    </a:lnTo>
                    <a:cubicBezTo>
                      <a:pt x="2931" y="2694"/>
                      <a:pt x="3017" y="2718"/>
                      <a:pt x="3104" y="2718"/>
                    </a:cubicBezTo>
                    <a:cubicBezTo>
                      <a:pt x="3191" y="2718"/>
                      <a:pt x="3277" y="2694"/>
                      <a:pt x="3340" y="2647"/>
                    </a:cubicBezTo>
                    <a:lnTo>
                      <a:pt x="4033" y="1922"/>
                    </a:lnTo>
                    <a:cubicBezTo>
                      <a:pt x="4159" y="1796"/>
                      <a:pt x="4159" y="1576"/>
                      <a:pt x="4033" y="1450"/>
                    </a:cubicBezTo>
                    <a:cubicBezTo>
                      <a:pt x="3986" y="1387"/>
                      <a:pt x="3899" y="1355"/>
                      <a:pt x="3809" y="1355"/>
                    </a:cubicBezTo>
                    <a:cubicBezTo>
                      <a:pt x="3718" y="1355"/>
                      <a:pt x="3624" y="1387"/>
                      <a:pt x="3561" y="1450"/>
                    </a:cubicBezTo>
                    <a:lnTo>
                      <a:pt x="3466" y="1576"/>
                    </a:lnTo>
                    <a:lnTo>
                      <a:pt x="3466" y="1009"/>
                    </a:lnTo>
                    <a:cubicBezTo>
                      <a:pt x="3466" y="441"/>
                      <a:pt x="2994" y="0"/>
                      <a:pt x="2427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  <p:sp>
            <p:nvSpPr>
              <p:cNvPr id="149" name="Google Shape;8063;p79"/>
              <p:cNvSpPr/>
              <p:nvPr/>
            </p:nvSpPr>
            <p:spPr>
              <a:xfrm>
                <a:off x="5445104" y="1532256"/>
                <a:ext cx="128787" cy="113576"/>
              </a:xfrm>
              <a:custGeom>
                <a:avLst/>
                <a:gdLst/>
                <a:ahLst/>
                <a:cxnLst/>
                <a:rect l="l" t="t" r="r" b="b"/>
                <a:pathLst>
                  <a:path w="3561" h="3435" extrusionOk="0">
                    <a:moveTo>
                      <a:pt x="1796" y="0"/>
                    </a:moveTo>
                    <a:cubicBezTo>
                      <a:pt x="788" y="0"/>
                      <a:pt x="0" y="788"/>
                      <a:pt x="0" y="1733"/>
                    </a:cubicBezTo>
                    <a:cubicBezTo>
                      <a:pt x="0" y="2647"/>
                      <a:pt x="788" y="3434"/>
                      <a:pt x="1796" y="3434"/>
                    </a:cubicBezTo>
                    <a:cubicBezTo>
                      <a:pt x="2741" y="3434"/>
                      <a:pt x="3561" y="2647"/>
                      <a:pt x="3561" y="1733"/>
                    </a:cubicBezTo>
                    <a:cubicBezTo>
                      <a:pt x="3561" y="788"/>
                      <a:pt x="2773" y="0"/>
                      <a:pt x="1796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  <p:sp>
            <p:nvSpPr>
              <p:cNvPr id="150" name="Google Shape;8064;p79"/>
              <p:cNvSpPr/>
              <p:nvPr/>
            </p:nvSpPr>
            <p:spPr>
              <a:xfrm>
                <a:off x="5181889" y="1484346"/>
                <a:ext cx="200576" cy="116684"/>
              </a:xfrm>
              <a:custGeom>
                <a:avLst/>
                <a:gdLst/>
                <a:ahLst/>
                <a:cxnLst/>
                <a:rect l="l" t="t" r="r" b="b"/>
                <a:pathLst>
                  <a:path w="5546" h="3529" extrusionOk="0">
                    <a:moveTo>
                      <a:pt x="1072" y="0"/>
                    </a:moveTo>
                    <a:cubicBezTo>
                      <a:pt x="442" y="536"/>
                      <a:pt x="32" y="1292"/>
                      <a:pt x="32" y="2143"/>
                    </a:cubicBezTo>
                    <a:lnTo>
                      <a:pt x="32" y="3182"/>
                    </a:lnTo>
                    <a:cubicBezTo>
                      <a:pt x="1" y="3371"/>
                      <a:pt x="158" y="3529"/>
                      <a:pt x="347" y="3529"/>
                    </a:cubicBezTo>
                    <a:lnTo>
                      <a:pt x="5199" y="3529"/>
                    </a:lnTo>
                    <a:cubicBezTo>
                      <a:pt x="5388" y="3529"/>
                      <a:pt x="5546" y="3371"/>
                      <a:pt x="5546" y="3182"/>
                    </a:cubicBezTo>
                    <a:lnTo>
                      <a:pt x="5546" y="2143"/>
                    </a:lnTo>
                    <a:cubicBezTo>
                      <a:pt x="5546" y="1292"/>
                      <a:pt x="5168" y="536"/>
                      <a:pt x="4538" y="0"/>
                    </a:cubicBezTo>
                    <a:cubicBezTo>
                      <a:pt x="4096" y="473"/>
                      <a:pt x="3466" y="756"/>
                      <a:pt x="2805" y="756"/>
                    </a:cubicBezTo>
                    <a:cubicBezTo>
                      <a:pt x="2143" y="756"/>
                      <a:pt x="1513" y="504"/>
                      <a:pt x="1072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  <p:sp>
            <p:nvSpPr>
              <p:cNvPr id="151" name="Google Shape;8065;p79"/>
              <p:cNvSpPr/>
              <p:nvPr/>
            </p:nvSpPr>
            <p:spPr>
              <a:xfrm>
                <a:off x="5407492" y="1644742"/>
                <a:ext cx="202854" cy="118800"/>
              </a:xfrm>
              <a:custGeom>
                <a:avLst/>
                <a:gdLst/>
                <a:ahLst/>
                <a:cxnLst/>
                <a:rect l="l" t="t" r="r" b="b"/>
                <a:pathLst>
                  <a:path w="5609" h="3593" extrusionOk="0">
                    <a:moveTo>
                      <a:pt x="1009" y="1"/>
                    </a:moveTo>
                    <a:cubicBezTo>
                      <a:pt x="379" y="537"/>
                      <a:pt x="1" y="1261"/>
                      <a:pt x="1" y="2143"/>
                    </a:cubicBezTo>
                    <a:lnTo>
                      <a:pt x="1" y="3246"/>
                    </a:lnTo>
                    <a:cubicBezTo>
                      <a:pt x="1" y="3435"/>
                      <a:pt x="158" y="3592"/>
                      <a:pt x="347" y="3592"/>
                    </a:cubicBezTo>
                    <a:lnTo>
                      <a:pt x="5262" y="3592"/>
                    </a:lnTo>
                    <a:cubicBezTo>
                      <a:pt x="5451" y="3592"/>
                      <a:pt x="5609" y="3435"/>
                      <a:pt x="5609" y="3246"/>
                    </a:cubicBezTo>
                    <a:lnTo>
                      <a:pt x="5609" y="2143"/>
                    </a:lnTo>
                    <a:cubicBezTo>
                      <a:pt x="5577" y="1261"/>
                      <a:pt x="5199" y="537"/>
                      <a:pt x="4569" y="1"/>
                    </a:cubicBezTo>
                    <a:cubicBezTo>
                      <a:pt x="4128" y="474"/>
                      <a:pt x="3498" y="757"/>
                      <a:pt x="2773" y="757"/>
                    </a:cubicBezTo>
                    <a:cubicBezTo>
                      <a:pt x="2080" y="757"/>
                      <a:pt x="1450" y="474"/>
                      <a:pt x="1009" y="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</p:grpSp>
      </p:grpSp>
      <p:grpSp>
        <p:nvGrpSpPr>
          <p:cNvPr id="152" name="Grupo 151"/>
          <p:cNvGrpSpPr/>
          <p:nvPr/>
        </p:nvGrpSpPr>
        <p:grpSpPr>
          <a:xfrm>
            <a:off x="4624085" y="4878014"/>
            <a:ext cx="1028700" cy="1030288"/>
            <a:chOff x="6775450" y="960438"/>
            <a:chExt cx="1028646" cy="1030790"/>
          </a:xfrm>
        </p:grpSpPr>
        <p:grpSp>
          <p:nvGrpSpPr>
            <p:cNvPr id="153" name="Grupo 152"/>
            <p:cNvGrpSpPr/>
            <p:nvPr/>
          </p:nvGrpSpPr>
          <p:grpSpPr>
            <a:xfrm>
              <a:off x="6775450" y="960438"/>
              <a:ext cx="1022296" cy="1030790"/>
              <a:chOff x="6959600" y="1058863"/>
              <a:chExt cx="1085850" cy="1117600"/>
            </a:xfrm>
          </p:grpSpPr>
          <p:sp>
            <p:nvSpPr>
              <p:cNvPr id="158" name="Elipse 157">
                <a:extLst>
                  <a:ext uri="{FF2B5EF4-FFF2-40B4-BE49-F238E27FC236}">
                    <a16:creationId xmlns:a16="http://schemas.microsoft.com/office/drawing/2014/main" id="{EDF0870B-CA90-0E4F-BA26-4EBBC391798A}"/>
                  </a:ext>
                </a:extLst>
              </p:cNvPr>
              <p:cNvSpPr/>
              <p:nvPr/>
            </p:nvSpPr>
            <p:spPr>
              <a:xfrm>
                <a:off x="6959600" y="1058863"/>
                <a:ext cx="1085850" cy="1117600"/>
              </a:xfrm>
              <a:prstGeom prst="ellipse">
                <a:avLst/>
              </a:prstGeom>
              <a:noFill/>
              <a:ln w="28575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lIns="72000" tIns="36000" rIns="72000" bIns="36000" rtlCol="0" anchor="ctr"/>
              <a:lstStyle/>
              <a:p>
                <a:pPr marL="0" marR="0" lvl="0" indent="0" algn="ctr" defTabSz="93325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  <a:sym typeface="Helvetica Neue"/>
                  </a:rPr>
                  <a:t>Texto</a:t>
                </a:r>
              </a:p>
            </p:txBody>
          </p:sp>
          <p:grpSp>
            <p:nvGrpSpPr>
              <p:cNvPr id="159" name="Google Shape;7393;p78"/>
              <p:cNvGrpSpPr/>
              <p:nvPr/>
            </p:nvGrpSpPr>
            <p:grpSpPr>
              <a:xfrm>
                <a:off x="7292975" y="1430338"/>
                <a:ext cx="423863" cy="387350"/>
                <a:chOff x="-41526450" y="3653375"/>
                <a:chExt cx="315875" cy="247350"/>
              </a:xfrm>
              <a:solidFill>
                <a:srgbClr val="8A004A"/>
              </a:solidFill>
            </p:grpSpPr>
            <p:sp>
              <p:nvSpPr>
                <p:cNvPr id="160" name="Google Shape;7394;p78"/>
                <p:cNvSpPr/>
                <p:nvPr/>
              </p:nvSpPr>
              <p:spPr>
                <a:xfrm>
                  <a:off x="-41526450" y="3860525"/>
                  <a:ext cx="315875" cy="40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35" h="1608" extrusionOk="0">
                      <a:moveTo>
                        <a:pt x="379" y="0"/>
                      </a:moveTo>
                      <a:cubicBezTo>
                        <a:pt x="159" y="0"/>
                        <a:pt x="1" y="189"/>
                        <a:pt x="1" y="378"/>
                      </a:cubicBezTo>
                      <a:cubicBezTo>
                        <a:pt x="1" y="1040"/>
                        <a:pt x="537" y="1607"/>
                        <a:pt x="1198" y="1607"/>
                      </a:cubicBezTo>
                      <a:lnTo>
                        <a:pt x="11406" y="1607"/>
                      </a:lnTo>
                      <a:cubicBezTo>
                        <a:pt x="12067" y="1607"/>
                        <a:pt x="12634" y="1072"/>
                        <a:pt x="12634" y="378"/>
                      </a:cubicBezTo>
                      <a:cubicBezTo>
                        <a:pt x="12603" y="158"/>
                        <a:pt x="12445" y="0"/>
                        <a:pt x="12193" y="0"/>
                      </a:cubicBezTo>
                      <a:lnTo>
                        <a:pt x="10965" y="0"/>
                      </a:lnTo>
                      <a:lnTo>
                        <a:pt x="10965" y="378"/>
                      </a:lnTo>
                      <a:cubicBezTo>
                        <a:pt x="10965" y="630"/>
                        <a:pt x="10776" y="819"/>
                        <a:pt x="10555" y="819"/>
                      </a:cubicBezTo>
                      <a:cubicBezTo>
                        <a:pt x="10303" y="819"/>
                        <a:pt x="10146" y="630"/>
                        <a:pt x="10146" y="378"/>
                      </a:cubicBezTo>
                      <a:lnTo>
                        <a:pt x="10146" y="0"/>
                      </a:lnTo>
                      <a:lnTo>
                        <a:pt x="9326" y="0"/>
                      </a:lnTo>
                      <a:lnTo>
                        <a:pt x="9326" y="378"/>
                      </a:lnTo>
                      <a:cubicBezTo>
                        <a:pt x="9326" y="630"/>
                        <a:pt x="9137" y="819"/>
                        <a:pt x="8917" y="819"/>
                      </a:cubicBezTo>
                      <a:cubicBezTo>
                        <a:pt x="8696" y="819"/>
                        <a:pt x="8507" y="630"/>
                        <a:pt x="8507" y="378"/>
                      </a:cubicBezTo>
                      <a:lnTo>
                        <a:pt x="8507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2"/>
                  </a:solidFill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Helvetica Neue"/>
                  </a:endParaRPr>
                </a:p>
              </p:txBody>
            </p:sp>
            <p:sp>
              <p:nvSpPr>
                <p:cNvPr id="161" name="Google Shape;7395;p78"/>
                <p:cNvSpPr/>
                <p:nvPr/>
              </p:nvSpPr>
              <p:spPr>
                <a:xfrm>
                  <a:off x="-41506750" y="3653375"/>
                  <a:ext cx="275700" cy="1867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28" h="7468" extrusionOk="0">
                      <a:moveTo>
                        <a:pt x="3794" y="1673"/>
                      </a:moveTo>
                      <a:cubicBezTo>
                        <a:pt x="3841" y="1673"/>
                        <a:pt x="3890" y="1682"/>
                        <a:pt x="3939" y="1702"/>
                      </a:cubicBezTo>
                      <a:lnTo>
                        <a:pt x="6428" y="2521"/>
                      </a:lnTo>
                      <a:cubicBezTo>
                        <a:pt x="6680" y="2616"/>
                        <a:pt x="6806" y="2994"/>
                        <a:pt x="6585" y="3214"/>
                      </a:cubicBezTo>
                      <a:lnTo>
                        <a:pt x="6018" y="3750"/>
                      </a:lnTo>
                      <a:lnTo>
                        <a:pt x="7404" y="5136"/>
                      </a:lnTo>
                      <a:cubicBezTo>
                        <a:pt x="7593" y="5262"/>
                        <a:pt x="7593" y="5514"/>
                        <a:pt x="7436" y="5671"/>
                      </a:cubicBezTo>
                      <a:cubicBezTo>
                        <a:pt x="7357" y="5750"/>
                        <a:pt x="7247" y="5790"/>
                        <a:pt x="7136" y="5790"/>
                      </a:cubicBezTo>
                      <a:cubicBezTo>
                        <a:pt x="7026" y="5790"/>
                        <a:pt x="6916" y="5750"/>
                        <a:pt x="6837" y="5671"/>
                      </a:cubicBezTo>
                      <a:lnTo>
                        <a:pt x="5451" y="4317"/>
                      </a:lnTo>
                      <a:lnTo>
                        <a:pt x="4915" y="4852"/>
                      </a:lnTo>
                      <a:cubicBezTo>
                        <a:pt x="4821" y="4947"/>
                        <a:pt x="4714" y="4988"/>
                        <a:pt x="4613" y="4988"/>
                      </a:cubicBezTo>
                      <a:cubicBezTo>
                        <a:pt x="4444" y="4988"/>
                        <a:pt x="4293" y="4872"/>
                        <a:pt x="4254" y="4695"/>
                      </a:cubicBezTo>
                      <a:lnTo>
                        <a:pt x="3435" y="2206"/>
                      </a:lnTo>
                      <a:cubicBezTo>
                        <a:pt x="3328" y="1940"/>
                        <a:pt x="3537" y="1673"/>
                        <a:pt x="3794" y="1673"/>
                      </a:cubicBezTo>
                      <a:close/>
                      <a:moveTo>
                        <a:pt x="1198" y="1"/>
                      </a:moveTo>
                      <a:cubicBezTo>
                        <a:pt x="536" y="1"/>
                        <a:pt x="1" y="568"/>
                        <a:pt x="1" y="1229"/>
                      </a:cubicBezTo>
                      <a:lnTo>
                        <a:pt x="1" y="7467"/>
                      </a:lnTo>
                      <a:lnTo>
                        <a:pt x="11027" y="7467"/>
                      </a:lnTo>
                      <a:lnTo>
                        <a:pt x="11027" y="1229"/>
                      </a:lnTo>
                      <a:cubicBezTo>
                        <a:pt x="11027" y="568"/>
                        <a:pt x="10460" y="1"/>
                        <a:pt x="9767" y="1"/>
                      </a:cubicBezTo>
                      <a:close/>
                    </a:path>
                  </a:pathLst>
                </a:custGeom>
                <a:grpFill/>
                <a:ln>
                  <a:solidFill>
                    <a:schemeClr val="bg2"/>
                  </a:solidFill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Helvetica Neue"/>
                  </a:endParaRPr>
                </a:p>
              </p:txBody>
            </p:sp>
          </p:grpSp>
        </p:grpSp>
        <p:sp>
          <p:nvSpPr>
            <p:cNvPr id="154" name="Elipse 153">
              <a:extLst>
                <a:ext uri="{FF2B5EF4-FFF2-40B4-BE49-F238E27FC236}">
                  <a16:creationId xmlns:a16="http://schemas.microsoft.com/office/drawing/2014/main" id="{EDF0870B-CA90-0E4F-BA26-4EBBC391798A}"/>
                </a:ext>
              </a:extLst>
            </p:cNvPr>
            <p:cNvSpPr/>
            <p:nvPr/>
          </p:nvSpPr>
          <p:spPr>
            <a:xfrm>
              <a:off x="6781800" y="960438"/>
              <a:ext cx="1022296" cy="1030790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36000" rIns="72000" bIns="36000" rtlCol="0" anchor="ctr"/>
            <a:lstStyle/>
            <a:p>
              <a:pPr marL="0" marR="0" lvl="0" indent="0" algn="ctr" defTabSz="9332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  <a:sym typeface="Helvetica Neue"/>
                </a:rPr>
                <a:t>Texto</a:t>
              </a:r>
            </a:p>
          </p:txBody>
        </p:sp>
        <p:grpSp>
          <p:nvGrpSpPr>
            <p:cNvPr id="155" name="Google Shape;7393;p78"/>
            <p:cNvGrpSpPr/>
            <p:nvPr/>
          </p:nvGrpSpPr>
          <p:grpSpPr>
            <a:xfrm>
              <a:off x="7095663" y="1303059"/>
              <a:ext cx="399055" cy="357262"/>
              <a:chOff x="-41526450" y="3653375"/>
              <a:chExt cx="315875" cy="247350"/>
            </a:xfrm>
            <a:solidFill>
              <a:srgbClr val="8A004A"/>
            </a:solidFill>
          </p:grpSpPr>
          <p:sp>
            <p:nvSpPr>
              <p:cNvPr id="156" name="Google Shape;7394;p78"/>
              <p:cNvSpPr/>
              <p:nvPr/>
            </p:nvSpPr>
            <p:spPr>
              <a:xfrm>
                <a:off x="-41526450" y="3860525"/>
                <a:ext cx="315875" cy="40200"/>
              </a:xfrm>
              <a:custGeom>
                <a:avLst/>
                <a:gdLst/>
                <a:ahLst/>
                <a:cxnLst/>
                <a:rect l="l" t="t" r="r" b="b"/>
                <a:pathLst>
                  <a:path w="12635" h="1608" extrusionOk="0">
                    <a:moveTo>
                      <a:pt x="379" y="0"/>
                    </a:moveTo>
                    <a:cubicBezTo>
                      <a:pt x="159" y="0"/>
                      <a:pt x="1" y="189"/>
                      <a:pt x="1" y="378"/>
                    </a:cubicBezTo>
                    <a:cubicBezTo>
                      <a:pt x="1" y="1040"/>
                      <a:pt x="537" y="1607"/>
                      <a:pt x="1198" y="1607"/>
                    </a:cubicBezTo>
                    <a:lnTo>
                      <a:pt x="11406" y="1607"/>
                    </a:lnTo>
                    <a:cubicBezTo>
                      <a:pt x="12067" y="1607"/>
                      <a:pt x="12634" y="1072"/>
                      <a:pt x="12634" y="378"/>
                    </a:cubicBezTo>
                    <a:cubicBezTo>
                      <a:pt x="12603" y="158"/>
                      <a:pt x="12445" y="0"/>
                      <a:pt x="12193" y="0"/>
                    </a:cubicBezTo>
                    <a:lnTo>
                      <a:pt x="10965" y="0"/>
                    </a:lnTo>
                    <a:lnTo>
                      <a:pt x="10965" y="378"/>
                    </a:lnTo>
                    <a:cubicBezTo>
                      <a:pt x="10965" y="630"/>
                      <a:pt x="10776" y="819"/>
                      <a:pt x="10555" y="819"/>
                    </a:cubicBezTo>
                    <a:cubicBezTo>
                      <a:pt x="10303" y="819"/>
                      <a:pt x="10146" y="630"/>
                      <a:pt x="10146" y="378"/>
                    </a:cubicBezTo>
                    <a:lnTo>
                      <a:pt x="10146" y="0"/>
                    </a:lnTo>
                    <a:lnTo>
                      <a:pt x="9326" y="0"/>
                    </a:lnTo>
                    <a:lnTo>
                      <a:pt x="9326" y="378"/>
                    </a:lnTo>
                    <a:cubicBezTo>
                      <a:pt x="9326" y="630"/>
                      <a:pt x="9137" y="819"/>
                      <a:pt x="8917" y="819"/>
                    </a:cubicBezTo>
                    <a:cubicBezTo>
                      <a:pt x="8696" y="819"/>
                      <a:pt x="8507" y="630"/>
                      <a:pt x="8507" y="378"/>
                    </a:cubicBezTo>
                    <a:lnTo>
                      <a:pt x="8507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  <p:sp>
            <p:nvSpPr>
              <p:cNvPr id="157" name="Google Shape;7395;p78"/>
              <p:cNvSpPr/>
              <p:nvPr/>
            </p:nvSpPr>
            <p:spPr>
              <a:xfrm>
                <a:off x="-41511778" y="3653375"/>
                <a:ext cx="275700" cy="186700"/>
              </a:xfrm>
              <a:custGeom>
                <a:avLst/>
                <a:gdLst/>
                <a:ahLst/>
                <a:cxnLst/>
                <a:rect l="l" t="t" r="r" b="b"/>
                <a:pathLst>
                  <a:path w="11028" h="7468" extrusionOk="0">
                    <a:moveTo>
                      <a:pt x="3794" y="1673"/>
                    </a:moveTo>
                    <a:cubicBezTo>
                      <a:pt x="3841" y="1673"/>
                      <a:pt x="3890" y="1682"/>
                      <a:pt x="3939" y="1702"/>
                    </a:cubicBezTo>
                    <a:lnTo>
                      <a:pt x="6428" y="2521"/>
                    </a:lnTo>
                    <a:cubicBezTo>
                      <a:pt x="6680" y="2616"/>
                      <a:pt x="6806" y="2994"/>
                      <a:pt x="6585" y="3214"/>
                    </a:cubicBezTo>
                    <a:lnTo>
                      <a:pt x="6018" y="3750"/>
                    </a:lnTo>
                    <a:lnTo>
                      <a:pt x="7404" y="5136"/>
                    </a:lnTo>
                    <a:cubicBezTo>
                      <a:pt x="7593" y="5262"/>
                      <a:pt x="7593" y="5514"/>
                      <a:pt x="7436" y="5671"/>
                    </a:cubicBezTo>
                    <a:cubicBezTo>
                      <a:pt x="7357" y="5750"/>
                      <a:pt x="7247" y="5790"/>
                      <a:pt x="7136" y="5790"/>
                    </a:cubicBezTo>
                    <a:cubicBezTo>
                      <a:pt x="7026" y="5790"/>
                      <a:pt x="6916" y="5750"/>
                      <a:pt x="6837" y="5671"/>
                    </a:cubicBezTo>
                    <a:lnTo>
                      <a:pt x="5451" y="4317"/>
                    </a:lnTo>
                    <a:lnTo>
                      <a:pt x="4915" y="4852"/>
                    </a:lnTo>
                    <a:cubicBezTo>
                      <a:pt x="4821" y="4947"/>
                      <a:pt x="4714" y="4988"/>
                      <a:pt x="4613" y="4988"/>
                    </a:cubicBezTo>
                    <a:cubicBezTo>
                      <a:pt x="4444" y="4988"/>
                      <a:pt x="4293" y="4872"/>
                      <a:pt x="4254" y="4695"/>
                    </a:cubicBezTo>
                    <a:lnTo>
                      <a:pt x="3435" y="2206"/>
                    </a:lnTo>
                    <a:cubicBezTo>
                      <a:pt x="3328" y="1940"/>
                      <a:pt x="3537" y="1673"/>
                      <a:pt x="3794" y="1673"/>
                    </a:cubicBezTo>
                    <a:close/>
                    <a:moveTo>
                      <a:pt x="1198" y="1"/>
                    </a:moveTo>
                    <a:cubicBezTo>
                      <a:pt x="536" y="1"/>
                      <a:pt x="1" y="568"/>
                      <a:pt x="1" y="1229"/>
                    </a:cubicBezTo>
                    <a:lnTo>
                      <a:pt x="1" y="7467"/>
                    </a:lnTo>
                    <a:lnTo>
                      <a:pt x="11027" y="7467"/>
                    </a:lnTo>
                    <a:lnTo>
                      <a:pt x="11027" y="1229"/>
                    </a:lnTo>
                    <a:cubicBezTo>
                      <a:pt x="11027" y="568"/>
                      <a:pt x="10460" y="1"/>
                      <a:pt x="9767" y="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</p:grpSp>
      </p:grpSp>
      <p:sp>
        <p:nvSpPr>
          <p:cNvPr id="162" name="Marcador de texto 2">
            <a:extLst>
              <a:ext uri="{FF2B5EF4-FFF2-40B4-BE49-F238E27FC236}">
                <a16:creationId xmlns:a16="http://schemas.microsoft.com/office/drawing/2014/main" id="{000DEF8F-C4BA-E04B-A41A-F15C0F1F9CC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69671" y="4708023"/>
            <a:ext cx="1160463" cy="365125"/>
          </a:xfrm>
          <a:prstGeom prst="roundRect">
            <a:avLst>
              <a:gd name="adj" fmla="val 49130"/>
            </a:avLst>
          </a:prstGeom>
          <a:solidFill>
            <a:schemeClr val="bg2"/>
          </a:solidFill>
          <a:ln w="9525" algn="ctr">
            <a:solidFill>
              <a:schemeClr val="bg1"/>
            </a:solidFill>
          </a:ln>
          <a:effectLst/>
        </p:spPr>
        <p:txBody>
          <a:bodyPr vert="horz" wrap="none" lIns="0" tIns="34925" rIns="1071563" bIns="333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CL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OPERACIONES</a:t>
            </a:r>
          </a:p>
        </p:txBody>
      </p:sp>
      <p:sp>
        <p:nvSpPr>
          <p:cNvPr id="163" name="Marcador de texto 2">
            <a:extLst>
              <a:ext uri="{FF2B5EF4-FFF2-40B4-BE49-F238E27FC236}">
                <a16:creationId xmlns:a16="http://schemas.microsoft.com/office/drawing/2014/main" id="{000DEF8F-C4BA-E04B-A41A-F15C0F1F9CC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235428" y="4705528"/>
            <a:ext cx="642938" cy="365125"/>
          </a:xfrm>
          <a:prstGeom prst="roundRect">
            <a:avLst>
              <a:gd name="adj" fmla="val 49130"/>
            </a:avLst>
          </a:prstGeom>
          <a:solidFill>
            <a:schemeClr val="bg2"/>
          </a:solidFill>
          <a:ln w="9525" algn="ctr">
            <a:solidFill>
              <a:schemeClr val="bg1"/>
            </a:solidFill>
          </a:ln>
          <a:effectLst/>
        </p:spPr>
        <p:txBody>
          <a:bodyPr vert="horz" wrap="none" lIns="19050" tIns="34925" rIns="0" bIns="333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CL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 OTEC</a:t>
            </a:r>
          </a:p>
        </p:txBody>
      </p:sp>
      <p:sp>
        <p:nvSpPr>
          <p:cNvPr id="164" name="Marcador de texto 2">
            <a:extLst>
              <a:ext uri="{FF2B5EF4-FFF2-40B4-BE49-F238E27FC236}">
                <a16:creationId xmlns:a16="http://schemas.microsoft.com/office/drawing/2014/main" id="{000DEF8F-C4BA-E04B-A41A-F15C0F1F9CC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91139" y="4671273"/>
            <a:ext cx="781050" cy="360363"/>
          </a:xfrm>
          <a:prstGeom prst="roundRect">
            <a:avLst>
              <a:gd name="adj" fmla="val 49780"/>
            </a:avLst>
          </a:prstGeom>
          <a:solidFill>
            <a:schemeClr val="bg2"/>
          </a:solidFill>
          <a:ln w="9525" algn="ctr">
            <a:solidFill>
              <a:schemeClr val="bg2"/>
            </a:solidFill>
          </a:ln>
          <a:effectLst/>
        </p:spPr>
        <p:txBody>
          <a:bodyPr vert="horz" wrap="none" lIns="19050" tIns="31750" rIns="0" bIns="3175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CL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EXPERTO</a:t>
            </a:r>
          </a:p>
        </p:txBody>
      </p:sp>
      <p:sp>
        <p:nvSpPr>
          <p:cNvPr id="165" name="CuadroTexto 164"/>
          <p:cNvSpPr txBox="1"/>
          <p:nvPr/>
        </p:nvSpPr>
        <p:spPr>
          <a:xfrm>
            <a:off x="1204301" y="6056064"/>
            <a:ext cx="123779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Ingreso solicitud en salesforce.</a:t>
            </a:r>
          </a:p>
        </p:txBody>
      </p:sp>
      <p:grpSp>
        <p:nvGrpSpPr>
          <p:cNvPr id="196" name="Grupo 195"/>
          <p:cNvGrpSpPr/>
          <p:nvPr/>
        </p:nvGrpSpPr>
        <p:grpSpPr>
          <a:xfrm>
            <a:off x="7731558" y="4888089"/>
            <a:ext cx="1028700" cy="1030288"/>
            <a:chOff x="8805863" y="960438"/>
            <a:chExt cx="1028646" cy="1030790"/>
          </a:xfrm>
        </p:grpSpPr>
        <p:grpSp>
          <p:nvGrpSpPr>
            <p:cNvPr id="197" name="Grupo 196"/>
            <p:cNvGrpSpPr/>
            <p:nvPr/>
          </p:nvGrpSpPr>
          <p:grpSpPr>
            <a:xfrm>
              <a:off x="8805863" y="960438"/>
              <a:ext cx="1022296" cy="1030790"/>
              <a:chOff x="9043988" y="1058863"/>
              <a:chExt cx="1085850" cy="1117600"/>
            </a:xfrm>
          </p:grpSpPr>
          <p:sp>
            <p:nvSpPr>
              <p:cNvPr id="203" name="Elipse 202">
                <a:extLst>
                  <a:ext uri="{FF2B5EF4-FFF2-40B4-BE49-F238E27FC236}">
                    <a16:creationId xmlns:a16="http://schemas.microsoft.com/office/drawing/2014/main" id="{EDF0870B-CA90-0E4F-BA26-4EBBC391798A}"/>
                  </a:ext>
                </a:extLst>
              </p:cNvPr>
              <p:cNvSpPr/>
              <p:nvPr/>
            </p:nvSpPr>
            <p:spPr>
              <a:xfrm>
                <a:off x="9043988" y="1058863"/>
                <a:ext cx="1085850" cy="1117600"/>
              </a:xfrm>
              <a:prstGeom prst="ellipse">
                <a:avLst/>
              </a:prstGeom>
              <a:noFill/>
              <a:ln w="28575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lIns="72000" tIns="36000" rIns="72000" bIns="36000" rtlCol="0" anchor="ctr"/>
              <a:lstStyle/>
              <a:p>
                <a:pPr marL="0" marR="0" lvl="0" indent="0" algn="ctr" defTabSz="93325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  <a:sym typeface="Helvetica Neue"/>
                  </a:rPr>
                  <a:t>Texto</a:t>
                </a:r>
              </a:p>
            </p:txBody>
          </p:sp>
          <p:grpSp>
            <p:nvGrpSpPr>
              <p:cNvPr id="204" name="Google Shape;7414;p78"/>
              <p:cNvGrpSpPr/>
              <p:nvPr/>
            </p:nvGrpSpPr>
            <p:grpSpPr>
              <a:xfrm>
                <a:off x="9383835" y="1423975"/>
                <a:ext cx="414337" cy="387349"/>
                <a:chOff x="-37804925" y="3953450"/>
                <a:chExt cx="315075" cy="318225"/>
              </a:xfrm>
              <a:solidFill>
                <a:srgbClr val="8A004A"/>
              </a:solidFill>
            </p:grpSpPr>
            <p:sp>
              <p:nvSpPr>
                <p:cNvPr id="205" name="Google Shape;7415;p78"/>
                <p:cNvSpPr/>
                <p:nvPr/>
              </p:nvSpPr>
              <p:spPr>
                <a:xfrm>
                  <a:off x="-37614300" y="3955025"/>
                  <a:ext cx="124450" cy="186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78" h="7448" extrusionOk="0">
                      <a:moveTo>
                        <a:pt x="2489" y="820"/>
                      </a:moveTo>
                      <a:cubicBezTo>
                        <a:pt x="3403" y="820"/>
                        <a:pt x="4127" y="1576"/>
                        <a:pt x="4127" y="2490"/>
                      </a:cubicBezTo>
                      <a:cubicBezTo>
                        <a:pt x="4127" y="3372"/>
                        <a:pt x="3403" y="4128"/>
                        <a:pt x="2489" y="4128"/>
                      </a:cubicBezTo>
                      <a:cubicBezTo>
                        <a:pt x="1575" y="4128"/>
                        <a:pt x="819" y="3372"/>
                        <a:pt x="819" y="2490"/>
                      </a:cubicBezTo>
                      <a:cubicBezTo>
                        <a:pt x="819" y="1576"/>
                        <a:pt x="1575" y="820"/>
                        <a:pt x="2489" y="820"/>
                      </a:cubicBezTo>
                      <a:close/>
                      <a:moveTo>
                        <a:pt x="2489" y="1"/>
                      </a:moveTo>
                      <a:cubicBezTo>
                        <a:pt x="1103" y="1"/>
                        <a:pt x="0" y="1104"/>
                        <a:pt x="0" y="2490"/>
                      </a:cubicBezTo>
                      <a:cubicBezTo>
                        <a:pt x="0" y="3214"/>
                        <a:pt x="315" y="3845"/>
                        <a:pt x="819" y="4317"/>
                      </a:cubicBezTo>
                      <a:lnTo>
                        <a:pt x="819" y="7058"/>
                      </a:lnTo>
                      <a:cubicBezTo>
                        <a:pt x="819" y="7287"/>
                        <a:pt x="1012" y="7448"/>
                        <a:pt x="1225" y="7448"/>
                      </a:cubicBezTo>
                      <a:cubicBezTo>
                        <a:pt x="1334" y="7448"/>
                        <a:pt x="1448" y="7406"/>
                        <a:pt x="1544" y="7310"/>
                      </a:cubicBezTo>
                      <a:lnTo>
                        <a:pt x="2489" y="6365"/>
                      </a:lnTo>
                      <a:lnTo>
                        <a:pt x="3434" y="7310"/>
                      </a:lnTo>
                      <a:cubicBezTo>
                        <a:pt x="3530" y="7406"/>
                        <a:pt x="3640" y="7448"/>
                        <a:pt x="3744" y="7448"/>
                      </a:cubicBezTo>
                      <a:cubicBezTo>
                        <a:pt x="3948" y="7448"/>
                        <a:pt x="4127" y="7287"/>
                        <a:pt x="4127" y="7058"/>
                      </a:cubicBezTo>
                      <a:lnTo>
                        <a:pt x="4127" y="4317"/>
                      </a:lnTo>
                      <a:cubicBezTo>
                        <a:pt x="4663" y="3845"/>
                        <a:pt x="4978" y="3214"/>
                        <a:pt x="4978" y="2490"/>
                      </a:cubicBezTo>
                      <a:cubicBezTo>
                        <a:pt x="4978" y="1104"/>
                        <a:pt x="3875" y="1"/>
                        <a:pt x="2489" y="1"/>
                      </a:cubicBezTo>
                      <a:close/>
                    </a:path>
                  </a:pathLst>
                </a:custGeom>
                <a:grpFill/>
                <a:ln>
                  <a:solidFill>
                    <a:schemeClr val="bg2"/>
                  </a:solidFill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Helvetica Neue"/>
                  </a:endParaRPr>
                </a:p>
              </p:txBody>
            </p:sp>
            <p:sp>
              <p:nvSpPr>
                <p:cNvPr id="206" name="Google Shape;7416;p78"/>
                <p:cNvSpPr/>
                <p:nvPr/>
              </p:nvSpPr>
              <p:spPr>
                <a:xfrm>
                  <a:off x="-37761600" y="4230700"/>
                  <a:ext cx="270175" cy="40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07" h="1639" extrusionOk="0">
                      <a:moveTo>
                        <a:pt x="1450" y="1"/>
                      </a:moveTo>
                      <a:cubicBezTo>
                        <a:pt x="1292" y="788"/>
                        <a:pt x="662" y="1387"/>
                        <a:pt x="1" y="1639"/>
                      </a:cubicBezTo>
                      <a:lnTo>
                        <a:pt x="8822" y="1639"/>
                      </a:lnTo>
                      <a:cubicBezTo>
                        <a:pt x="9799" y="1639"/>
                        <a:pt x="10649" y="946"/>
                        <a:pt x="10807" y="1"/>
                      </a:cubicBezTo>
                      <a:close/>
                    </a:path>
                  </a:pathLst>
                </a:custGeom>
                <a:grpFill/>
                <a:ln>
                  <a:solidFill>
                    <a:schemeClr val="bg2"/>
                  </a:solidFill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Helvetica Neue"/>
                  </a:endParaRPr>
                </a:p>
              </p:txBody>
            </p:sp>
            <p:sp>
              <p:nvSpPr>
                <p:cNvPr id="207" name="Google Shape;7417;p78"/>
                <p:cNvSpPr/>
                <p:nvPr/>
              </p:nvSpPr>
              <p:spPr>
                <a:xfrm>
                  <a:off x="-37804925" y="3953450"/>
                  <a:ext cx="274125" cy="2956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65" h="11827" extrusionOk="0">
                      <a:moveTo>
                        <a:pt x="379" y="1"/>
                      </a:moveTo>
                      <a:cubicBezTo>
                        <a:pt x="158" y="1"/>
                        <a:pt x="1" y="221"/>
                        <a:pt x="1" y="411"/>
                      </a:cubicBezTo>
                      <a:lnTo>
                        <a:pt x="1" y="10618"/>
                      </a:lnTo>
                      <a:cubicBezTo>
                        <a:pt x="1" y="11280"/>
                        <a:pt x="537" y="11815"/>
                        <a:pt x="1198" y="11815"/>
                      </a:cubicBezTo>
                      <a:cubicBezTo>
                        <a:pt x="1247" y="11823"/>
                        <a:pt x="1295" y="11826"/>
                        <a:pt x="1342" y="11826"/>
                      </a:cubicBezTo>
                      <a:cubicBezTo>
                        <a:pt x="1912" y="11826"/>
                        <a:pt x="2395" y="11318"/>
                        <a:pt x="2395" y="10650"/>
                      </a:cubicBezTo>
                      <a:cubicBezTo>
                        <a:pt x="2395" y="10398"/>
                        <a:pt x="2584" y="10272"/>
                        <a:pt x="2836" y="10272"/>
                      </a:cubicBezTo>
                      <a:lnTo>
                        <a:pt x="10965" y="10272"/>
                      </a:lnTo>
                      <a:lnTo>
                        <a:pt x="10965" y="8255"/>
                      </a:lnTo>
                      <a:cubicBezTo>
                        <a:pt x="10807" y="8161"/>
                        <a:pt x="10650" y="8098"/>
                        <a:pt x="10492" y="7972"/>
                      </a:cubicBezTo>
                      <a:lnTo>
                        <a:pt x="10146" y="7625"/>
                      </a:lnTo>
                      <a:lnTo>
                        <a:pt x="9799" y="7972"/>
                      </a:lnTo>
                      <a:cubicBezTo>
                        <a:pt x="9547" y="8224"/>
                        <a:pt x="9232" y="8318"/>
                        <a:pt x="8917" y="8318"/>
                      </a:cubicBezTo>
                      <a:cubicBezTo>
                        <a:pt x="8255" y="8318"/>
                        <a:pt x="7720" y="7783"/>
                        <a:pt x="7720" y="7058"/>
                      </a:cubicBezTo>
                      <a:lnTo>
                        <a:pt x="7720" y="4664"/>
                      </a:lnTo>
                      <a:cubicBezTo>
                        <a:pt x="7184" y="4065"/>
                        <a:pt x="6869" y="3309"/>
                        <a:pt x="6869" y="2490"/>
                      </a:cubicBezTo>
                      <a:cubicBezTo>
                        <a:pt x="6869" y="1513"/>
                        <a:pt x="7310" y="600"/>
                        <a:pt x="8035" y="1"/>
                      </a:cubicBezTo>
                      <a:close/>
                    </a:path>
                  </a:pathLst>
                </a:custGeom>
                <a:grpFill/>
                <a:ln>
                  <a:solidFill>
                    <a:schemeClr val="bg2"/>
                  </a:solidFill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Helvetica Neue"/>
                  </a:endParaRPr>
                </a:p>
              </p:txBody>
            </p:sp>
          </p:grpSp>
        </p:grpSp>
        <p:sp>
          <p:nvSpPr>
            <p:cNvPr id="198" name="Elipse 197">
              <a:extLst>
                <a:ext uri="{FF2B5EF4-FFF2-40B4-BE49-F238E27FC236}">
                  <a16:creationId xmlns:a16="http://schemas.microsoft.com/office/drawing/2014/main" id="{EDF0870B-CA90-0E4F-BA26-4EBBC391798A}"/>
                </a:ext>
              </a:extLst>
            </p:cNvPr>
            <p:cNvSpPr/>
            <p:nvPr/>
          </p:nvSpPr>
          <p:spPr>
            <a:xfrm>
              <a:off x="8812213" y="960438"/>
              <a:ext cx="1022296" cy="1030790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36000" rIns="72000" bIns="36000" rtlCol="0" anchor="ctr"/>
            <a:lstStyle/>
            <a:p>
              <a:pPr marL="0" marR="0" lvl="0" indent="0" algn="ctr" defTabSz="9332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  <a:sym typeface="Helvetica Neue"/>
                </a:rPr>
                <a:t>Texto</a:t>
              </a:r>
            </a:p>
          </p:txBody>
        </p:sp>
        <p:grpSp>
          <p:nvGrpSpPr>
            <p:cNvPr id="199" name="Google Shape;7414;p78"/>
            <p:cNvGrpSpPr/>
            <p:nvPr/>
          </p:nvGrpSpPr>
          <p:grpSpPr>
            <a:xfrm>
              <a:off x="9125582" y="1297190"/>
              <a:ext cx="390088" cy="357261"/>
              <a:chOff x="-37804925" y="3953450"/>
              <a:chExt cx="315075" cy="318225"/>
            </a:xfrm>
            <a:solidFill>
              <a:srgbClr val="8A004A"/>
            </a:solidFill>
          </p:grpSpPr>
          <p:sp>
            <p:nvSpPr>
              <p:cNvPr id="200" name="Google Shape;7415;p78"/>
              <p:cNvSpPr/>
              <p:nvPr/>
            </p:nvSpPr>
            <p:spPr>
              <a:xfrm>
                <a:off x="-37614300" y="3955025"/>
                <a:ext cx="124450" cy="186200"/>
              </a:xfrm>
              <a:custGeom>
                <a:avLst/>
                <a:gdLst/>
                <a:ahLst/>
                <a:cxnLst/>
                <a:rect l="l" t="t" r="r" b="b"/>
                <a:pathLst>
                  <a:path w="4978" h="7448" extrusionOk="0">
                    <a:moveTo>
                      <a:pt x="2489" y="820"/>
                    </a:moveTo>
                    <a:cubicBezTo>
                      <a:pt x="3403" y="820"/>
                      <a:pt x="4127" y="1576"/>
                      <a:pt x="4127" y="2490"/>
                    </a:cubicBezTo>
                    <a:cubicBezTo>
                      <a:pt x="4127" y="3372"/>
                      <a:pt x="3403" y="4128"/>
                      <a:pt x="2489" y="4128"/>
                    </a:cubicBezTo>
                    <a:cubicBezTo>
                      <a:pt x="1575" y="4128"/>
                      <a:pt x="819" y="3372"/>
                      <a:pt x="819" y="2490"/>
                    </a:cubicBezTo>
                    <a:cubicBezTo>
                      <a:pt x="819" y="1576"/>
                      <a:pt x="1575" y="820"/>
                      <a:pt x="2489" y="820"/>
                    </a:cubicBezTo>
                    <a:close/>
                    <a:moveTo>
                      <a:pt x="2489" y="1"/>
                    </a:moveTo>
                    <a:cubicBezTo>
                      <a:pt x="1103" y="1"/>
                      <a:pt x="0" y="1104"/>
                      <a:pt x="0" y="2490"/>
                    </a:cubicBezTo>
                    <a:cubicBezTo>
                      <a:pt x="0" y="3214"/>
                      <a:pt x="315" y="3845"/>
                      <a:pt x="819" y="4317"/>
                    </a:cubicBezTo>
                    <a:lnTo>
                      <a:pt x="819" y="7058"/>
                    </a:lnTo>
                    <a:cubicBezTo>
                      <a:pt x="819" y="7287"/>
                      <a:pt x="1012" y="7448"/>
                      <a:pt x="1225" y="7448"/>
                    </a:cubicBezTo>
                    <a:cubicBezTo>
                      <a:pt x="1334" y="7448"/>
                      <a:pt x="1448" y="7406"/>
                      <a:pt x="1544" y="7310"/>
                    </a:cubicBezTo>
                    <a:lnTo>
                      <a:pt x="2489" y="6365"/>
                    </a:lnTo>
                    <a:lnTo>
                      <a:pt x="3434" y="7310"/>
                    </a:lnTo>
                    <a:cubicBezTo>
                      <a:pt x="3530" y="7406"/>
                      <a:pt x="3640" y="7448"/>
                      <a:pt x="3744" y="7448"/>
                    </a:cubicBezTo>
                    <a:cubicBezTo>
                      <a:pt x="3948" y="7448"/>
                      <a:pt x="4127" y="7287"/>
                      <a:pt x="4127" y="7058"/>
                    </a:cubicBezTo>
                    <a:lnTo>
                      <a:pt x="4127" y="4317"/>
                    </a:lnTo>
                    <a:cubicBezTo>
                      <a:pt x="4663" y="3845"/>
                      <a:pt x="4978" y="3214"/>
                      <a:pt x="4978" y="2490"/>
                    </a:cubicBezTo>
                    <a:cubicBezTo>
                      <a:pt x="4978" y="1104"/>
                      <a:pt x="3875" y="1"/>
                      <a:pt x="2489" y="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  <p:sp>
            <p:nvSpPr>
              <p:cNvPr id="201" name="Google Shape;7416;p78"/>
              <p:cNvSpPr/>
              <p:nvPr/>
            </p:nvSpPr>
            <p:spPr>
              <a:xfrm>
                <a:off x="-37761600" y="4230700"/>
                <a:ext cx="270175" cy="40975"/>
              </a:xfrm>
              <a:custGeom>
                <a:avLst/>
                <a:gdLst/>
                <a:ahLst/>
                <a:cxnLst/>
                <a:rect l="l" t="t" r="r" b="b"/>
                <a:pathLst>
                  <a:path w="10807" h="1639" extrusionOk="0">
                    <a:moveTo>
                      <a:pt x="1450" y="1"/>
                    </a:moveTo>
                    <a:cubicBezTo>
                      <a:pt x="1292" y="788"/>
                      <a:pt x="662" y="1387"/>
                      <a:pt x="1" y="1639"/>
                    </a:cubicBezTo>
                    <a:lnTo>
                      <a:pt x="8822" y="1639"/>
                    </a:lnTo>
                    <a:cubicBezTo>
                      <a:pt x="9799" y="1639"/>
                      <a:pt x="10649" y="946"/>
                      <a:pt x="10807" y="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  <p:sp>
            <p:nvSpPr>
              <p:cNvPr id="202" name="Google Shape;7417;p78"/>
              <p:cNvSpPr/>
              <p:nvPr/>
            </p:nvSpPr>
            <p:spPr>
              <a:xfrm>
                <a:off x="-37804925" y="3953450"/>
                <a:ext cx="274125" cy="295675"/>
              </a:xfrm>
              <a:custGeom>
                <a:avLst/>
                <a:gdLst/>
                <a:ahLst/>
                <a:cxnLst/>
                <a:rect l="l" t="t" r="r" b="b"/>
                <a:pathLst>
                  <a:path w="10965" h="11827" extrusionOk="0">
                    <a:moveTo>
                      <a:pt x="379" y="1"/>
                    </a:moveTo>
                    <a:cubicBezTo>
                      <a:pt x="158" y="1"/>
                      <a:pt x="1" y="221"/>
                      <a:pt x="1" y="411"/>
                    </a:cubicBezTo>
                    <a:lnTo>
                      <a:pt x="1" y="10618"/>
                    </a:lnTo>
                    <a:cubicBezTo>
                      <a:pt x="1" y="11280"/>
                      <a:pt x="537" y="11815"/>
                      <a:pt x="1198" y="11815"/>
                    </a:cubicBezTo>
                    <a:cubicBezTo>
                      <a:pt x="1247" y="11823"/>
                      <a:pt x="1295" y="11826"/>
                      <a:pt x="1342" y="11826"/>
                    </a:cubicBezTo>
                    <a:cubicBezTo>
                      <a:pt x="1912" y="11826"/>
                      <a:pt x="2395" y="11318"/>
                      <a:pt x="2395" y="10650"/>
                    </a:cubicBezTo>
                    <a:cubicBezTo>
                      <a:pt x="2395" y="10398"/>
                      <a:pt x="2584" y="10272"/>
                      <a:pt x="2836" y="10272"/>
                    </a:cubicBezTo>
                    <a:lnTo>
                      <a:pt x="10965" y="10272"/>
                    </a:lnTo>
                    <a:lnTo>
                      <a:pt x="10965" y="8255"/>
                    </a:lnTo>
                    <a:cubicBezTo>
                      <a:pt x="10807" y="8161"/>
                      <a:pt x="10650" y="8098"/>
                      <a:pt x="10492" y="7972"/>
                    </a:cubicBezTo>
                    <a:lnTo>
                      <a:pt x="10146" y="7625"/>
                    </a:lnTo>
                    <a:lnTo>
                      <a:pt x="9799" y="7972"/>
                    </a:lnTo>
                    <a:cubicBezTo>
                      <a:pt x="9547" y="8224"/>
                      <a:pt x="9232" y="8318"/>
                      <a:pt x="8917" y="8318"/>
                    </a:cubicBezTo>
                    <a:cubicBezTo>
                      <a:pt x="8255" y="8318"/>
                      <a:pt x="7720" y="7783"/>
                      <a:pt x="7720" y="7058"/>
                    </a:cubicBezTo>
                    <a:lnTo>
                      <a:pt x="7720" y="4664"/>
                    </a:lnTo>
                    <a:cubicBezTo>
                      <a:pt x="7184" y="4065"/>
                      <a:pt x="6869" y="3309"/>
                      <a:pt x="6869" y="2490"/>
                    </a:cubicBezTo>
                    <a:cubicBezTo>
                      <a:pt x="6869" y="1513"/>
                      <a:pt x="7310" y="600"/>
                      <a:pt x="8035" y="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Helvetica Neue"/>
                </a:endParaRPr>
              </a:p>
            </p:txBody>
          </p:sp>
        </p:grpSp>
      </p:grpSp>
      <p:sp>
        <p:nvSpPr>
          <p:cNvPr id="208" name="CuadroTexto 207"/>
          <p:cNvSpPr txBox="1"/>
          <p:nvPr/>
        </p:nvSpPr>
        <p:spPr>
          <a:xfrm>
            <a:off x="7282191" y="5996709"/>
            <a:ext cx="16454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Plazo máximo de 10 días hábiles para su disponibilidad (presencial y Streaming).</a:t>
            </a:r>
          </a:p>
        </p:txBody>
      </p:sp>
      <p:sp>
        <p:nvSpPr>
          <p:cNvPr id="210" name="Marcador de texto 2">
            <a:extLst>
              <a:ext uri="{FF2B5EF4-FFF2-40B4-BE49-F238E27FC236}">
                <a16:creationId xmlns:a16="http://schemas.microsoft.com/office/drawing/2014/main" id="{000DEF8F-C4BA-E04B-A41A-F15C0F1F9CC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529114" y="4756620"/>
            <a:ext cx="877888" cy="262939"/>
          </a:xfrm>
          <a:prstGeom prst="roundRect">
            <a:avLst>
              <a:gd name="adj" fmla="val 49741"/>
            </a:avLst>
          </a:prstGeom>
          <a:solidFill>
            <a:schemeClr val="bg2"/>
          </a:solidFill>
          <a:ln w="9525" algn="ctr">
            <a:solidFill>
              <a:schemeClr val="bg1"/>
            </a:solidFill>
          </a:ln>
          <a:effectLst/>
        </p:spPr>
        <p:txBody>
          <a:bodyPr vert="horz" wrap="none" lIns="0" tIns="12700" rIns="0" bIns="1270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CL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DIPLOMAS</a:t>
            </a:r>
          </a:p>
        </p:txBody>
      </p:sp>
      <p:cxnSp>
        <p:nvCxnSpPr>
          <p:cNvPr id="130" name="Conector recto 129"/>
          <p:cNvCxnSpPr>
            <a:cxnSpLocks/>
          </p:cNvCxnSpPr>
          <p:nvPr/>
        </p:nvCxnSpPr>
        <p:spPr>
          <a:xfrm flipV="1">
            <a:off x="3978947" y="5366558"/>
            <a:ext cx="668252" cy="819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6" name="Conector recto 135"/>
          <p:cNvCxnSpPr>
            <a:cxnSpLocks/>
          </p:cNvCxnSpPr>
          <p:nvPr/>
        </p:nvCxnSpPr>
        <p:spPr>
          <a:xfrm>
            <a:off x="7313473" y="5393158"/>
            <a:ext cx="440045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12" name="Grupo 111">
            <a:extLst>
              <a:ext uri="{FF2B5EF4-FFF2-40B4-BE49-F238E27FC236}">
                <a16:creationId xmlns:a16="http://schemas.microsoft.com/office/drawing/2014/main" id="{3E702DBE-1CD8-C943-AC48-9D062A7D6F18}"/>
              </a:ext>
            </a:extLst>
          </p:cNvPr>
          <p:cNvGrpSpPr/>
          <p:nvPr/>
        </p:nvGrpSpPr>
        <p:grpSpPr>
          <a:xfrm>
            <a:off x="533811" y="1139083"/>
            <a:ext cx="2324590" cy="3532968"/>
            <a:chOff x="550861" y="1835704"/>
            <a:chExt cx="3987548" cy="2702301"/>
          </a:xfrm>
        </p:grpSpPr>
        <p:sp>
          <p:nvSpPr>
            <p:cNvPr id="166" name="Rectángulo: esquinas redondeadas 7">
              <a:extLst>
                <a:ext uri="{FF2B5EF4-FFF2-40B4-BE49-F238E27FC236}">
                  <a16:creationId xmlns:a16="http://schemas.microsoft.com/office/drawing/2014/main" id="{1AC9E49F-4D62-5E4B-82DA-37EF7A2080E4}"/>
                </a:ext>
              </a:extLst>
            </p:cNvPr>
            <p:cNvSpPr/>
            <p:nvPr/>
          </p:nvSpPr>
          <p:spPr>
            <a:xfrm>
              <a:off x="550861" y="1835704"/>
              <a:ext cx="3987548" cy="2592288"/>
            </a:xfrm>
            <a:prstGeom prst="roundRect">
              <a:avLst>
                <a:gd name="adj" fmla="val 6004"/>
              </a:avLst>
            </a:prstGeom>
            <a:solidFill>
              <a:schemeClr val="bg1"/>
            </a:solidFill>
            <a:ln w="317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10000"/>
                </a:prstClr>
              </a:outerShdw>
            </a:effectLst>
          </p:spPr>
          <p:txBody>
            <a:bodyPr lIns="36000" tIns="36000" rIns="36000" bIns="36000" rtlCol="0" anchor="ctr"/>
            <a:lstStyle/>
            <a:p>
              <a:pPr marL="0" marR="0" lvl="0" indent="0" algn="ctr" defTabSz="9332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sym typeface="Helvetica Neue"/>
              </a:endParaRPr>
            </a:p>
          </p:txBody>
        </p:sp>
        <p:sp>
          <p:nvSpPr>
            <p:cNvPr id="167" name="CuadroTexto 166">
              <a:extLst>
                <a:ext uri="{FF2B5EF4-FFF2-40B4-BE49-F238E27FC236}">
                  <a16:creationId xmlns:a16="http://schemas.microsoft.com/office/drawing/2014/main" id="{8D2458CB-3268-134B-8CE6-620B845B91A3}"/>
                </a:ext>
              </a:extLst>
            </p:cNvPr>
            <p:cNvSpPr txBox="1"/>
            <p:nvPr/>
          </p:nvSpPr>
          <p:spPr>
            <a:xfrm>
              <a:off x="550863" y="2375348"/>
              <a:ext cx="3851807" cy="2162657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14B1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Helvetica Neue"/>
                </a:rPr>
                <a:t>Mínimo 8 días hábiles</a:t>
              </a:r>
            </a:p>
            <a:p>
              <a:pPr marL="0" marR="0" lvl="0" indent="0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15BF45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Helvetica Neue"/>
                </a:rPr>
                <a:t>Dada la alta demanda recomendamos solicitar otras modalidades (Streaming según disponibilidad en el Maestro de cursos)</a:t>
              </a:r>
              <a:b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15BF45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Helvetica Neue"/>
                </a:rPr>
              </a:br>
              <a:b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15BF45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Helvetica Neue"/>
                </a:rPr>
              </a:br>
              <a:r>
                <a:rPr kumimoji="0" lang="es-MX" sz="1200" b="0" i="0" u="none" strike="noStrike" kern="0" cap="none" spc="0" normalizeH="0" baseline="0" noProof="0">
                  <a:ln>
                    <a:noFill/>
                  </a:ln>
                  <a:solidFill>
                    <a:srgbClr val="15BF4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Neue"/>
                </a:rPr>
                <a:t>*El número de participantes varía según el tipo de curso solicitado en el maestro de cursos</a:t>
              </a:r>
              <a:endPara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endParaRPr>
            </a:p>
            <a:p>
              <a:pPr marL="0" marR="0" lvl="0" indent="0" algn="ctr" defTabSz="914400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Helvetica Neue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Maestro: Aquí</a:t>
              </a:r>
              <a:endParaRPr kumimoji="0" lang="es-MX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 Neue"/>
              </a:endParaRPr>
            </a:p>
          </p:txBody>
        </p:sp>
      </p:grpSp>
      <p:sp>
        <p:nvSpPr>
          <p:cNvPr id="168" name="Rectángulo redondeado 167"/>
          <p:cNvSpPr/>
          <p:nvPr/>
        </p:nvSpPr>
        <p:spPr>
          <a:xfrm>
            <a:off x="659488" y="1128395"/>
            <a:ext cx="1869825" cy="56069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Modalidad Presencial</a:t>
            </a:r>
          </a:p>
        </p:txBody>
      </p:sp>
      <p:grpSp>
        <p:nvGrpSpPr>
          <p:cNvPr id="171" name="Grupo 170">
            <a:extLst>
              <a:ext uri="{FF2B5EF4-FFF2-40B4-BE49-F238E27FC236}">
                <a16:creationId xmlns:a16="http://schemas.microsoft.com/office/drawing/2014/main" id="{3E702DBE-1CD8-C943-AC48-9D062A7D6F18}"/>
              </a:ext>
            </a:extLst>
          </p:cNvPr>
          <p:cNvGrpSpPr/>
          <p:nvPr/>
        </p:nvGrpSpPr>
        <p:grpSpPr>
          <a:xfrm>
            <a:off x="5495179" y="1104957"/>
            <a:ext cx="2217348" cy="3463552"/>
            <a:chOff x="550863" y="1835704"/>
            <a:chExt cx="3851807" cy="2592288"/>
          </a:xfrm>
        </p:grpSpPr>
        <p:sp>
          <p:nvSpPr>
            <p:cNvPr id="172" name="Rectángulo: esquinas redondeadas 7">
              <a:extLst>
                <a:ext uri="{FF2B5EF4-FFF2-40B4-BE49-F238E27FC236}">
                  <a16:creationId xmlns:a16="http://schemas.microsoft.com/office/drawing/2014/main" id="{1AC9E49F-4D62-5E4B-82DA-37EF7A2080E4}"/>
                </a:ext>
              </a:extLst>
            </p:cNvPr>
            <p:cNvSpPr/>
            <p:nvPr/>
          </p:nvSpPr>
          <p:spPr>
            <a:xfrm>
              <a:off x="550863" y="1835704"/>
              <a:ext cx="3851807" cy="2592288"/>
            </a:xfrm>
            <a:prstGeom prst="roundRect">
              <a:avLst>
                <a:gd name="adj" fmla="val 6004"/>
              </a:avLst>
            </a:prstGeom>
            <a:solidFill>
              <a:schemeClr val="bg1"/>
            </a:solidFill>
            <a:ln w="317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10000"/>
                </a:prstClr>
              </a:outerShdw>
            </a:effectLst>
          </p:spPr>
          <p:txBody>
            <a:bodyPr lIns="36000" tIns="36000" rIns="36000" bIns="36000" rtlCol="0" anchor="ctr"/>
            <a:lstStyle/>
            <a:p>
              <a:pPr marL="0" marR="0" lvl="0" indent="0" algn="ctr" defTabSz="9332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  <a:sym typeface="Helvetica Neue"/>
                </a:rPr>
                <a:t> </a:t>
              </a:r>
            </a:p>
          </p:txBody>
        </p:sp>
        <p:sp>
          <p:nvSpPr>
            <p:cNvPr id="173" name="CuadroTexto 172">
              <a:extLst>
                <a:ext uri="{FF2B5EF4-FFF2-40B4-BE49-F238E27FC236}">
                  <a16:creationId xmlns:a16="http://schemas.microsoft.com/office/drawing/2014/main" id="{8D2458CB-3268-134B-8CE6-620B845B91A3}"/>
                </a:ext>
              </a:extLst>
            </p:cNvPr>
            <p:cNvSpPr txBox="1"/>
            <p:nvPr/>
          </p:nvSpPr>
          <p:spPr>
            <a:xfrm>
              <a:off x="550863" y="2375348"/>
              <a:ext cx="3851807" cy="14560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 Neue"/>
              </a:endParaRPr>
            </a:p>
          </p:txBody>
        </p:sp>
      </p:grpSp>
      <p:sp>
        <p:nvSpPr>
          <p:cNvPr id="174" name="Rectángulo redondeado 173"/>
          <p:cNvSpPr/>
          <p:nvPr/>
        </p:nvSpPr>
        <p:spPr>
          <a:xfrm>
            <a:off x="5421162" y="1138629"/>
            <a:ext cx="2120944" cy="56069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odalidad </a:t>
            </a:r>
            <a:br>
              <a:rPr kumimoji="0" lang="es-CL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</a:br>
            <a:r>
              <a:rPr kumimoji="0" lang="es-CL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E-Learning</a:t>
            </a:r>
          </a:p>
        </p:txBody>
      </p:sp>
      <p:sp>
        <p:nvSpPr>
          <p:cNvPr id="175" name="Rectángulo 174"/>
          <p:cNvSpPr/>
          <p:nvPr/>
        </p:nvSpPr>
        <p:spPr>
          <a:xfrm>
            <a:off x="5372392" y="1610440"/>
            <a:ext cx="2184265" cy="2983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</a:b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Mínimo 3 días hábiles</a:t>
            </a: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014B14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0" marR="0" lvl="0" indent="0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•Mínimo 10 participantes</a:t>
            </a:r>
          </a:p>
          <a:p>
            <a:pPr marL="0" marR="0" lvl="0" indent="0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•La duración no debe superar los 31 días</a:t>
            </a:r>
          </a:p>
          <a:p>
            <a:pPr marL="0" marR="0" lvl="0" indent="0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•Reporte de avance  se actualizan los lunes y jueves</a:t>
            </a:r>
          </a:p>
          <a:p>
            <a:pPr marL="0" marR="0" lvl="0" indent="0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•Sin restricciones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: 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rtal de Gestión de Cursos E-learning</a:t>
            </a:r>
            <a:endParaRPr kumimoji="0" lang="es-ES" sz="1000" b="0" i="0" u="none" strike="noStrike" kern="120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Helvetica Neue"/>
            </a:endParaRPr>
          </a:p>
        </p:txBody>
      </p:sp>
      <p:sp>
        <p:nvSpPr>
          <p:cNvPr id="178" name="CuadroTexto 177">
            <a:extLst>
              <a:ext uri="{FF2B5EF4-FFF2-40B4-BE49-F238E27FC236}">
                <a16:creationId xmlns:a16="http://schemas.microsoft.com/office/drawing/2014/main" id="{8D2458CB-3268-134B-8CE6-620B845B91A3}"/>
              </a:ext>
            </a:extLst>
          </p:cNvPr>
          <p:cNvSpPr txBox="1"/>
          <p:nvPr/>
        </p:nvSpPr>
        <p:spPr>
          <a:xfrm>
            <a:off x="3025342" y="1755820"/>
            <a:ext cx="2100314" cy="155566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Helvetica Neue"/>
            </a:endParaRPr>
          </a:p>
        </p:txBody>
      </p:sp>
      <p:grpSp>
        <p:nvGrpSpPr>
          <p:cNvPr id="179" name="Grupo 178">
            <a:extLst>
              <a:ext uri="{FF2B5EF4-FFF2-40B4-BE49-F238E27FC236}">
                <a16:creationId xmlns:a16="http://schemas.microsoft.com/office/drawing/2014/main" id="{3E702DBE-1CD8-C943-AC48-9D062A7D6F18}"/>
              </a:ext>
            </a:extLst>
          </p:cNvPr>
          <p:cNvGrpSpPr/>
          <p:nvPr/>
        </p:nvGrpSpPr>
        <p:grpSpPr>
          <a:xfrm>
            <a:off x="2980597" y="1138628"/>
            <a:ext cx="2356874" cy="3390367"/>
            <a:chOff x="524342" y="1835704"/>
            <a:chExt cx="3878328" cy="2592288"/>
          </a:xfrm>
        </p:grpSpPr>
        <p:sp>
          <p:nvSpPr>
            <p:cNvPr id="180" name="Rectángulo: esquinas redondeadas 7">
              <a:extLst>
                <a:ext uri="{FF2B5EF4-FFF2-40B4-BE49-F238E27FC236}">
                  <a16:creationId xmlns:a16="http://schemas.microsoft.com/office/drawing/2014/main" id="{1AC9E49F-4D62-5E4B-82DA-37EF7A2080E4}"/>
                </a:ext>
              </a:extLst>
            </p:cNvPr>
            <p:cNvSpPr/>
            <p:nvPr/>
          </p:nvSpPr>
          <p:spPr>
            <a:xfrm>
              <a:off x="550863" y="1835704"/>
              <a:ext cx="3851807" cy="2592288"/>
            </a:xfrm>
            <a:prstGeom prst="roundRect">
              <a:avLst>
                <a:gd name="adj" fmla="val 6004"/>
              </a:avLst>
            </a:prstGeom>
            <a:solidFill>
              <a:schemeClr val="bg1"/>
            </a:solidFill>
            <a:ln w="317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10000"/>
                </a:prstClr>
              </a:outerShdw>
            </a:effectLst>
          </p:spPr>
          <p:txBody>
            <a:bodyPr lIns="36000" tIns="36000" rIns="36000" bIns="36000" rtlCol="0" anchor="ctr"/>
            <a:lstStyle/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endParaRPr>
            </a:p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14B1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Helvetica Neue"/>
                </a:rPr>
                <a:t> Mínimo 8 días hábiles</a:t>
              </a:r>
            </a:p>
            <a:p>
              <a:pPr marL="0" marR="0" lvl="0" indent="0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15BF45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Helvetica Neue"/>
                </a:rPr>
                <a:t>•Adjuntar en la oportunidad el </a:t>
              </a:r>
              <a:r>
                <a:rPr kumimoji="0" lang="es-ES" sz="1000" b="0" i="0" u="none" strike="noStrike" kern="1200" cap="none" spc="0" normalizeH="0" baseline="0" noProof="0">
                  <a:ln>
                    <a:noFill/>
                  </a:ln>
                  <a:solidFill>
                    <a:srgbClr val="15BF45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Helvetica Neue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ormulario de inscripción</a:t>
              </a:r>
              <a:endPara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endParaRPr>
            </a:p>
            <a:p>
              <a:pPr marL="0" marR="0" lvl="0" indent="0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1200" b="0" i="0" u="none" strike="noStrike" kern="0" cap="none" spc="0" normalizeH="0" baseline="0" noProof="0">
                  <a:ln>
                    <a:noFill/>
                  </a:ln>
                  <a:solidFill>
                    <a:srgbClr val="15BF4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Neue"/>
                </a:rPr>
                <a:t>*El número de participantes varía según el tipo de curso solicitado en el maestro de cursos</a:t>
              </a:r>
              <a:endPara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endParaRPr>
            </a:p>
            <a:p>
              <a:pPr marL="0" marR="0" lvl="0" indent="0" algn="ctr" defTabSz="933257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Helvetica Neue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Maestro: Aquí</a:t>
              </a:r>
              <a:endParaRPr kumimoji="0" lang="es-MX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  <a:p>
              <a:pPr marL="0" marR="0" lvl="0" indent="0" algn="ctr" defTabSz="9332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Arial"/>
                  <a:sym typeface="Helvetica Neue"/>
                </a:rPr>
                <a:t> </a:t>
              </a:r>
              <a:endParaRPr kumimoji="0" lang="es-CL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/>
                <a:ea typeface="Calibri"/>
                <a:cs typeface="Arial"/>
                <a:sym typeface="Helvetica Neue"/>
              </a:endParaRPr>
            </a:p>
          </p:txBody>
        </p:sp>
        <p:sp>
          <p:nvSpPr>
            <p:cNvPr id="181" name="CuadroTexto 180">
              <a:extLst>
                <a:ext uri="{FF2B5EF4-FFF2-40B4-BE49-F238E27FC236}">
                  <a16:creationId xmlns:a16="http://schemas.microsoft.com/office/drawing/2014/main" id="{8D2458CB-3268-134B-8CE6-620B845B91A3}"/>
                </a:ext>
              </a:extLst>
            </p:cNvPr>
            <p:cNvSpPr txBox="1"/>
            <p:nvPr/>
          </p:nvSpPr>
          <p:spPr>
            <a:xfrm>
              <a:off x="524342" y="2193731"/>
              <a:ext cx="3851807" cy="14560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 Neue"/>
              </a:endParaRPr>
            </a:p>
          </p:txBody>
        </p:sp>
      </p:grpSp>
      <p:sp>
        <p:nvSpPr>
          <p:cNvPr id="182" name="Rectángulo redondeado 181"/>
          <p:cNvSpPr/>
          <p:nvPr/>
        </p:nvSpPr>
        <p:spPr>
          <a:xfrm>
            <a:off x="3023189" y="1115387"/>
            <a:ext cx="2178062" cy="56069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odalidad </a:t>
            </a:r>
            <a:br>
              <a:rPr kumimoji="0" lang="es-CL" sz="14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</a:br>
            <a:r>
              <a:rPr kumimoji="0" lang="es-CL" sz="1400" b="1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Streaming</a:t>
            </a:r>
            <a:endParaRPr kumimoji="0" lang="es-CL" sz="1400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183" name="Rectángulo 182"/>
          <p:cNvSpPr/>
          <p:nvPr/>
        </p:nvSpPr>
        <p:spPr>
          <a:xfrm>
            <a:off x="2934652" y="1683658"/>
            <a:ext cx="205207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  <a:sym typeface="Helvetica Neue"/>
            </a:endParaRPr>
          </a:p>
        </p:txBody>
      </p:sp>
      <p:sp>
        <p:nvSpPr>
          <p:cNvPr id="187" name="Rectángulo redondeado 186"/>
          <p:cNvSpPr/>
          <p:nvPr/>
        </p:nvSpPr>
        <p:spPr>
          <a:xfrm>
            <a:off x="9405017" y="1329012"/>
            <a:ext cx="2100314" cy="56069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Excepciones</a:t>
            </a:r>
          </a:p>
        </p:txBody>
      </p:sp>
      <p:sp>
        <p:nvSpPr>
          <p:cNvPr id="188" name="Rectángulo 187"/>
          <p:cNvSpPr/>
          <p:nvPr/>
        </p:nvSpPr>
        <p:spPr>
          <a:xfrm>
            <a:off x="9399009" y="2055879"/>
            <a:ext cx="2487321" cy="283154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Plazo máximo de 48 horas antes de fecha de inicio</a:t>
            </a: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En Ocasión de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Accidente Causa Fat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Auditoría Empresa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Helvetica Neue"/>
              </a:rPr>
            </a:b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Se debe adjuntar el correo Vb° Sub gerente territorial para RM y Gerente Territorial zona Norte o sur indicando excepción por fuera de plaz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Helvetica Neue"/>
            </a:endParaRPr>
          </a:p>
        </p:txBody>
      </p:sp>
      <p:sp>
        <p:nvSpPr>
          <p:cNvPr id="2" name="Flecha derecha 1"/>
          <p:cNvSpPr/>
          <p:nvPr/>
        </p:nvSpPr>
        <p:spPr>
          <a:xfrm>
            <a:off x="7823049" y="2930188"/>
            <a:ext cx="872232" cy="364068"/>
          </a:xfrm>
          <a:prstGeom prst="rightArrow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5964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08262" y="442056"/>
            <a:ext cx="5519460" cy="3416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0" cap="none" spc="0" normalizeH="0" baseline="0" noProof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omparativo: Cursos Presenciales vs Streaming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79C6BDDC-0811-D83B-D21A-E3B4A5FB32FB}"/>
              </a:ext>
            </a:extLst>
          </p:cNvPr>
          <p:cNvGrpSpPr/>
          <p:nvPr/>
        </p:nvGrpSpPr>
        <p:grpSpPr>
          <a:xfrm>
            <a:off x="2088490" y="1042417"/>
            <a:ext cx="8015017" cy="4179824"/>
            <a:chOff x="2088490" y="908588"/>
            <a:chExt cx="8015017" cy="5376319"/>
          </a:xfrm>
          <a:solidFill>
            <a:schemeClr val="bg1"/>
          </a:solidFill>
        </p:grpSpPr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F1EC1436-797D-5C64-F5C8-85C9364EFAF8}"/>
                </a:ext>
              </a:extLst>
            </p:cNvPr>
            <p:cNvSpPr/>
            <p:nvPr/>
          </p:nvSpPr>
          <p:spPr>
            <a:xfrm>
              <a:off x="2088490" y="908588"/>
              <a:ext cx="3745335" cy="650564"/>
            </a:xfrm>
            <a:custGeom>
              <a:avLst/>
              <a:gdLst>
                <a:gd name="connsiteX0" fmla="*/ 0 w 3745335"/>
                <a:gd name="connsiteY0" fmla="*/ 0 h 947050"/>
                <a:gd name="connsiteX1" fmla="*/ 3745335 w 3745335"/>
                <a:gd name="connsiteY1" fmla="*/ 0 h 947050"/>
                <a:gd name="connsiteX2" fmla="*/ 3745335 w 3745335"/>
                <a:gd name="connsiteY2" fmla="*/ 947050 h 947050"/>
                <a:gd name="connsiteX3" fmla="*/ 0 w 3745335"/>
                <a:gd name="connsiteY3" fmla="*/ 947050 h 947050"/>
                <a:gd name="connsiteX4" fmla="*/ 0 w 3745335"/>
                <a:gd name="connsiteY4" fmla="*/ 0 h 947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5335" h="947050">
                  <a:moveTo>
                    <a:pt x="0" y="0"/>
                  </a:moveTo>
                  <a:lnTo>
                    <a:pt x="3745335" y="0"/>
                  </a:lnTo>
                  <a:lnTo>
                    <a:pt x="3745335" y="947050"/>
                  </a:lnTo>
                  <a:lnTo>
                    <a:pt x="0" y="94705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Neue"/>
                </a:rPr>
                <a:t>Cursos presenciales </a:t>
              </a:r>
              <a:endParaRPr kumimoji="0" lang="es-CL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6" name="Forma libre: forma 5">
              <a:extLst>
                <a:ext uri="{FF2B5EF4-FFF2-40B4-BE49-F238E27FC236}">
                  <a16:creationId xmlns:a16="http://schemas.microsoft.com/office/drawing/2014/main" id="{5A0FEA60-2967-6F6E-C7CD-BF2EE3D08B55}"/>
                </a:ext>
              </a:extLst>
            </p:cNvPr>
            <p:cNvSpPr/>
            <p:nvPr/>
          </p:nvSpPr>
          <p:spPr>
            <a:xfrm>
              <a:off x="2088490" y="1980747"/>
              <a:ext cx="3745335" cy="4304160"/>
            </a:xfrm>
            <a:custGeom>
              <a:avLst/>
              <a:gdLst>
                <a:gd name="connsiteX0" fmla="*/ 0 w 3745335"/>
                <a:gd name="connsiteY0" fmla="*/ 0 h 4304160"/>
                <a:gd name="connsiteX1" fmla="*/ 3745335 w 3745335"/>
                <a:gd name="connsiteY1" fmla="*/ 0 h 4304160"/>
                <a:gd name="connsiteX2" fmla="*/ 3745335 w 3745335"/>
                <a:gd name="connsiteY2" fmla="*/ 4304160 h 4304160"/>
                <a:gd name="connsiteX3" fmla="*/ 0 w 3745335"/>
                <a:gd name="connsiteY3" fmla="*/ 4304160 h 4304160"/>
                <a:gd name="connsiteX4" fmla="*/ 0 w 3745335"/>
                <a:gd name="connsiteY4" fmla="*/ 0 h 430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5335" h="4304160">
                  <a:moveTo>
                    <a:pt x="0" y="0"/>
                  </a:moveTo>
                  <a:lnTo>
                    <a:pt x="3745335" y="0"/>
                  </a:lnTo>
                  <a:lnTo>
                    <a:pt x="3745335" y="4304160"/>
                  </a:lnTo>
                  <a:lnTo>
                    <a:pt x="0" y="4304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113792" bIns="128016" numCol="1" spcCol="1270" anchor="t" anchorCtr="0">
              <a:noAutofit/>
            </a:bodyPr>
            <a:lstStyle/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s-MX" sz="12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sym typeface="Helvetica Neue"/>
                </a:rPr>
                <a:t>Esperar confirmación OTEC y sub estado “</a:t>
              </a:r>
              <a:r>
                <a:rPr lang="es-MX" sz="1200" kern="1200">
                  <a:solidFill>
                    <a:schemeClr val="bg2"/>
                  </a:solidFill>
                  <a:latin typeface="Arial" panose="020B0604020202020204"/>
                </a:rPr>
                <a:t>asignado</a:t>
              </a:r>
              <a:r>
                <a:rPr kumimoji="0" lang="es-MX" sz="120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sym typeface="Helvetica Neue"/>
                </a:rPr>
                <a:t> a relator”</a:t>
              </a:r>
              <a:endParaRPr kumimoji="0" lang="es-CL" sz="12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sym typeface="Helvetica Neue"/>
                </a:rPr>
                <a:t>Módulos deben coincidir con fechas de inicio y fin.</a:t>
              </a:r>
              <a:endParaRPr kumimoji="0" lang="es-CL" sz="12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sym typeface="Helvetica Neue"/>
                </a:rPr>
                <a:t>24 horas para responder sub estado “Reparo”. De lo contrario será rechazado</a:t>
              </a:r>
              <a:endParaRPr kumimoji="0" lang="es-CL" sz="12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sym typeface="Helvetica Neue"/>
                </a:rPr>
                <a:t>Rechazo por disponibilidad: fechas tentativas por 24 horas.</a:t>
              </a:r>
              <a:endParaRPr kumimoji="0" lang="es-CL" sz="12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sym typeface="Helvetica Neue"/>
                </a:rPr>
                <a:t>Sino se cumple con las medidas y/o implementos indicados en el maestro de curso pueden suspenderse in situ</a:t>
              </a:r>
              <a:endParaRPr kumimoji="0" lang="es-CL" sz="12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sym typeface="Helvetica Neue"/>
                </a:rPr>
                <a:t>Fechas son tentativas hasta confirmación de OTEC.</a:t>
              </a:r>
              <a:endParaRPr kumimoji="0" lang="es-CL" sz="12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sym typeface="Helvetica Neue"/>
                </a:rPr>
                <a:t>No asumir </a:t>
              </a:r>
              <a:r>
                <a:rPr lang="es-MX" sz="1200" kern="1200">
                  <a:solidFill>
                    <a:schemeClr val="bg2"/>
                  </a:solidFill>
                  <a:latin typeface="Arial" panose="020B0604020202020204"/>
                </a:rPr>
                <a:t>programación</a:t>
              </a:r>
              <a:r>
                <a:rPr kumimoji="0" lang="es-MX" sz="120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sym typeface="Helvetica Neue"/>
                </a:rPr>
                <a:t> como definitiva sin confirmación</a:t>
              </a:r>
              <a:r>
                <a:rPr kumimoji="0" lang="es-MX" sz="140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sym typeface="Helvetica Neue"/>
                </a:rPr>
                <a:t>.</a:t>
              </a:r>
              <a:endParaRPr kumimoji="0" lang="es-CL" sz="140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s-CL" sz="1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s-CL" sz="1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sym typeface="Helvetica Neue"/>
              </a:endParaRPr>
            </a:p>
          </p:txBody>
        </p:sp>
        <p:sp>
          <p:nvSpPr>
            <p:cNvPr id="7" name="Forma libre: forma 6">
              <a:extLst>
                <a:ext uri="{FF2B5EF4-FFF2-40B4-BE49-F238E27FC236}">
                  <a16:creationId xmlns:a16="http://schemas.microsoft.com/office/drawing/2014/main" id="{178FE51A-3659-21E0-1A84-BDD799048C6D}"/>
                </a:ext>
              </a:extLst>
            </p:cNvPr>
            <p:cNvSpPr/>
            <p:nvPr/>
          </p:nvSpPr>
          <p:spPr>
            <a:xfrm>
              <a:off x="6358172" y="908588"/>
              <a:ext cx="3745335" cy="650564"/>
            </a:xfrm>
            <a:custGeom>
              <a:avLst/>
              <a:gdLst>
                <a:gd name="connsiteX0" fmla="*/ 0 w 3745335"/>
                <a:gd name="connsiteY0" fmla="*/ 0 h 947050"/>
                <a:gd name="connsiteX1" fmla="*/ 3745335 w 3745335"/>
                <a:gd name="connsiteY1" fmla="*/ 0 h 947050"/>
                <a:gd name="connsiteX2" fmla="*/ 3745335 w 3745335"/>
                <a:gd name="connsiteY2" fmla="*/ 947050 h 947050"/>
                <a:gd name="connsiteX3" fmla="*/ 0 w 3745335"/>
                <a:gd name="connsiteY3" fmla="*/ 947050 h 947050"/>
                <a:gd name="connsiteX4" fmla="*/ 0 w 3745335"/>
                <a:gd name="connsiteY4" fmla="*/ 0 h 947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5335" h="947050">
                  <a:moveTo>
                    <a:pt x="0" y="0"/>
                  </a:moveTo>
                  <a:lnTo>
                    <a:pt x="3745335" y="0"/>
                  </a:lnTo>
                  <a:lnTo>
                    <a:pt x="3745335" y="947050"/>
                  </a:lnTo>
                  <a:lnTo>
                    <a:pt x="0" y="94705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  <a:p>
              <a:pPr marL="0" marR="0" lvl="0" indent="0" algn="ctr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Neue"/>
                </a:rPr>
                <a:t>Cursos Streaming</a:t>
              </a:r>
            </a:p>
            <a:p>
              <a:pPr marL="0" marR="0" lvl="0" indent="0" algn="ctr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05DEDBBC-13AB-EF31-E265-E51DA4040B94}"/>
                </a:ext>
              </a:extLst>
            </p:cNvPr>
            <p:cNvSpPr/>
            <p:nvPr/>
          </p:nvSpPr>
          <p:spPr>
            <a:xfrm>
              <a:off x="6358171" y="1980747"/>
              <a:ext cx="3745336" cy="4304160"/>
            </a:xfrm>
            <a:custGeom>
              <a:avLst/>
              <a:gdLst>
                <a:gd name="connsiteX0" fmla="*/ 0 w 3745335"/>
                <a:gd name="connsiteY0" fmla="*/ 0 h 4304160"/>
                <a:gd name="connsiteX1" fmla="*/ 3745335 w 3745335"/>
                <a:gd name="connsiteY1" fmla="*/ 0 h 4304160"/>
                <a:gd name="connsiteX2" fmla="*/ 3745335 w 3745335"/>
                <a:gd name="connsiteY2" fmla="*/ 4304160 h 4304160"/>
                <a:gd name="connsiteX3" fmla="*/ 0 w 3745335"/>
                <a:gd name="connsiteY3" fmla="*/ 4304160 h 4304160"/>
                <a:gd name="connsiteX4" fmla="*/ 0 w 3745335"/>
                <a:gd name="connsiteY4" fmla="*/ 0 h 430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5335" h="4304160">
                  <a:moveTo>
                    <a:pt x="0" y="0"/>
                  </a:moveTo>
                  <a:lnTo>
                    <a:pt x="3745335" y="0"/>
                  </a:lnTo>
                  <a:lnTo>
                    <a:pt x="3745335" y="4304160"/>
                  </a:lnTo>
                  <a:lnTo>
                    <a:pt x="0" y="4304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113792" bIns="128016" numCol="1" spcCol="1270" anchor="t" anchorCtr="0">
              <a:noAutofit/>
            </a:bodyPr>
            <a:lstStyle/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s-MX" sz="12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b="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Neue"/>
                </a:rPr>
                <a:t>Esperar confirmación OTEC y sub estado “asignado a relator”</a:t>
              </a:r>
              <a:endParaRPr kumimoji="0" lang="es-CL" sz="12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b="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Neue"/>
                </a:rPr>
                <a:t>Listado de inscritos con mail único</a:t>
              </a:r>
              <a:endParaRPr kumimoji="0" lang="es-CL" sz="12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b="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Neue"/>
                </a:rPr>
                <a:t>Se usan plataformas de cursos (Teams y Zoom)</a:t>
              </a:r>
              <a:endParaRPr kumimoji="0" lang="es-CL" sz="12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b="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Neue"/>
                </a:rPr>
                <a:t>Link de ejecución enviado 24 horas antes de inicio del curso</a:t>
              </a:r>
              <a:endParaRPr kumimoji="0" lang="es-CL" sz="12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b="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Neue"/>
                </a:rPr>
                <a:t>Ingreso desde PC/dispositivo único para validar asistencia </a:t>
              </a:r>
              <a:endParaRPr kumimoji="0" lang="es-CL" sz="12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b="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Neue"/>
                </a:rPr>
                <a:t>Rechazo por disponibilidad de fechas tentativas por 24 horas.</a:t>
              </a:r>
              <a:endParaRPr kumimoji="0" lang="es-CL" sz="12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s-MX" sz="1200" b="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Neue"/>
                </a:rPr>
                <a:t>Crear nueva oportunidad si no se aceptan fechas</a:t>
              </a:r>
              <a:r>
                <a:rPr kumimoji="0" lang="es-MX" sz="1200" b="0" i="0" u="none" strike="noStrike" kern="1200" cap="none" spc="0" normalizeH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Neue"/>
                </a:rPr>
                <a:t> </a:t>
              </a:r>
              <a:r>
                <a:rPr kumimoji="0" lang="es-MX" sz="1200" b="0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Neue"/>
                </a:rPr>
                <a:t>tentativas</a:t>
              </a:r>
              <a:endParaRPr kumimoji="0" lang="es-CL" sz="12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s-CL" sz="1600" b="0" i="0" u="none" strike="noStrike" kern="1200" cap="none" spc="0" normalizeH="0" baseline="0" noProof="0">
                <a:ln>
                  <a:noFill/>
                </a:ln>
                <a:solidFill>
                  <a:srgbClr val="15BF45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  <a:p>
              <a:pPr marL="171450" marR="0" lvl="1" indent="-171450" algn="l" defTabSz="711200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s-CL" sz="16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endParaRPr>
            </a:p>
          </p:txBody>
        </p:sp>
      </p:grpSp>
    </p:spTree>
  </p:cSld>
  <p:clrMapOvr>
    <a:masterClrMapping/>
  </p:clrMapOvr>
  <p:transition spd="med"/>
  <p:extLst>
    <p:ext uri="{6950BFC3-D8DA-4A85-94F7-54DA5524770B}">
      <p188:commentRel xmlns:p188="http://schemas.microsoft.com/office/powerpoint/2018/8/main" r:id="rId2"/>
    </p:ext>
  </p:extLs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contenido 2"/>
          <p:cNvSpPr>
            <a:spLocks noGrp="1"/>
          </p:cNvSpPr>
          <p:nvPr>
            <p:ph type="body" sz="quarter" idx="13"/>
          </p:nvPr>
        </p:nvSpPr>
        <p:spPr>
          <a:xfrm>
            <a:off x="636570" y="1976470"/>
            <a:ext cx="5439109" cy="3627554"/>
          </a:xfrm>
        </p:spPr>
        <p:txBody>
          <a:bodyPr lIns="0" tIns="0" rIns="0" bIns="0" anchor="t">
            <a:normAutofit/>
          </a:bodyPr>
          <a:lstStyle/>
          <a:p>
            <a:pPr algn="just"/>
            <a:r>
              <a:rPr lang="es-CL" sz="120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Aplica para cursos Cerrados en modalidad Presencial / Streaming (excluye AM y CDE*) Cada Agencia y cartera KAM cuenta con cuotas mensuales definidas para la ejecución de capacitaciones</a:t>
            </a:r>
            <a:r>
              <a:rPr lang="es-CL" sz="1200">
                <a:solidFill>
                  <a:schemeClr val="accent3"/>
                </a:solidFill>
                <a:latin typeface="Arial"/>
                <a:cs typeface="Arial"/>
              </a:rPr>
              <a:t>.</a:t>
            </a:r>
            <a:endParaRPr lang="en-US" sz="1200">
              <a:solidFill>
                <a:schemeClr val="accent3"/>
              </a:solidFill>
            </a:endParaRPr>
          </a:p>
          <a:p>
            <a:pPr marL="285750" indent="-285750" algn="just">
              <a:buFont typeface="Arial"/>
              <a:buChar char="•"/>
            </a:pPr>
            <a:endParaRPr lang="en-US" sz="1200">
              <a:solidFill>
                <a:schemeClr val="accent3"/>
              </a:solidFill>
            </a:endParaRPr>
          </a:p>
          <a:p>
            <a:pPr marL="285750" indent="-285750" algn="just">
              <a:buFont typeface="Arial"/>
              <a:buChar char="•"/>
            </a:pPr>
            <a:endParaRPr lang="en-US" sz="120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algn="just"/>
            <a:r>
              <a:rPr lang="es-CL" sz="1200" b="1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Cursos descuentan cuotas según duración:</a:t>
            </a:r>
          </a:p>
          <a:p>
            <a:pPr algn="just"/>
            <a:endParaRPr lang="es-CL" sz="1200" b="1" u="sng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algn="just"/>
            <a:endParaRPr lang="es-CL" sz="1200" b="1" u="sng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CL" sz="1200">
                <a:solidFill>
                  <a:schemeClr val="tx1">
                    <a:lumMod val="50000"/>
                  </a:schemeClr>
                </a:solidFill>
              </a:rPr>
              <a:t>01 a 06 horas.: 1 cuota (02 si es por excepción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CL" sz="1200">
                <a:solidFill>
                  <a:schemeClr val="tx1">
                    <a:lumMod val="50000"/>
                  </a:schemeClr>
                </a:solidFill>
              </a:rPr>
              <a:t>08 a 16 horas.: 4 cuotas (05 si es por excepción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CL" sz="1200">
                <a:solidFill>
                  <a:schemeClr val="tx1">
                    <a:lumMod val="50000"/>
                  </a:schemeClr>
                </a:solidFill>
              </a:rPr>
              <a:t>20 horas o más.: 12 cuotas (13 si es por excepción)</a:t>
            </a:r>
          </a:p>
          <a:p>
            <a:pPr lvl="1" algn="just">
              <a:lnSpc>
                <a:spcPct val="100000"/>
              </a:lnSpc>
            </a:pPr>
            <a:endParaRPr lang="es-CL" sz="1200">
              <a:solidFill>
                <a:schemeClr val="tx1">
                  <a:lumMod val="50000"/>
                </a:schemeClr>
              </a:solidFill>
            </a:endParaRPr>
          </a:p>
          <a:p>
            <a:pPr algn="just">
              <a:lnSpc>
                <a:spcPct val="100000"/>
              </a:lnSpc>
            </a:pPr>
            <a:r>
              <a:rPr lang="es-CL" sz="120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Sólo pueden solicitar cursos quienes estén carterizados dentro de una Agencia o cartera KAM</a:t>
            </a:r>
          </a:p>
        </p:txBody>
      </p:sp>
      <p:sp>
        <p:nvSpPr>
          <p:cNvPr id="34" name="Marcador de contenido 2"/>
          <p:cNvSpPr>
            <a:spLocks noGrp="1"/>
          </p:cNvSpPr>
          <p:nvPr>
            <p:ph type="body" sz="quarter" idx="14"/>
          </p:nvPr>
        </p:nvSpPr>
        <p:spPr>
          <a:xfrm>
            <a:off x="636571" y="1144205"/>
            <a:ext cx="4134833" cy="555438"/>
          </a:xfrm>
        </p:spPr>
        <p:txBody>
          <a:bodyPr lIns="0" tIns="0" rIns="0" bIns="0" anchor="t">
            <a:normAutofit/>
          </a:bodyPr>
          <a:lstStyle/>
          <a:p>
            <a:pPr algn="just"/>
            <a:r>
              <a:rPr lang="es-CL" b="1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Revisa el saldo de cuotas disponible pinchando aquí  </a:t>
            </a:r>
            <a:r>
              <a:rPr lang="es-CL" b="1">
                <a:solidFill>
                  <a:schemeClr val="accent2">
                    <a:lumMod val="49000"/>
                  </a:schemeClr>
                </a:solidFill>
                <a:latin typeface="Arial"/>
                <a:cs typeface="Arial"/>
                <a:hlinkClick r:id="rId7" tooltip="https://achs-my.sharepoint.com/:f:/g/personal/gptplc_achs_cl/ejn686affzjkmpzajqnzti4bltzi9oaz-kimsubjjfru4a?e=p5rrz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nel de cuotas</a:t>
            </a:r>
            <a:endParaRPr lang="es-CL" b="1">
              <a:solidFill>
                <a:schemeClr val="accent2">
                  <a:lumMod val="49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94" name="Rectángulo 93"/>
          <p:cNvSpPr/>
          <p:nvPr/>
        </p:nvSpPr>
        <p:spPr>
          <a:xfrm>
            <a:off x="323524" y="571682"/>
            <a:ext cx="3252624" cy="4341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0" cap="none" spc="0" normalizeH="0" baseline="0" noProof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Aspectos esenciales</a:t>
            </a:r>
          </a:p>
        </p:txBody>
      </p:sp>
      <p:sp>
        <p:nvSpPr>
          <p:cNvPr id="4" name="Rectángulo 3"/>
          <p:cNvSpPr/>
          <p:nvPr/>
        </p:nvSpPr>
        <p:spPr>
          <a:xfrm>
            <a:off x="323524" y="6072944"/>
            <a:ext cx="1813317" cy="341632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900" b="0" i="0" strike="noStrike" kern="0" cap="none" spc="0" normalizeH="0" baseline="0" noProof="0">
                <a:ln>
                  <a:noFill/>
                </a:ln>
                <a:solidFill>
                  <a:srgbClr val="014B14">
                    <a:lumMod val="90000"/>
                    <a:lumOff val="10000"/>
                  </a:srgbClr>
                </a:solidFill>
                <a:uLnTx/>
                <a:uFillTx/>
                <a:latin typeface="Arial"/>
                <a:ea typeface="+mn-ea"/>
                <a:cs typeface="Arial"/>
                <a:sym typeface="Helvetica Neue"/>
              </a:rPr>
              <a:t>*AM: Aula Móvil</a:t>
            </a:r>
            <a:br>
              <a:rPr kumimoji="0" lang="es-CL" sz="900" b="0" i="0" strike="noStrike" kern="0" cap="none" spc="0" normalizeH="0" baseline="0" noProof="0">
                <a:ln>
                  <a:noFill/>
                </a:ln>
                <a:solidFill>
                  <a:srgbClr val="014B14">
                    <a:lumMod val="90000"/>
                    <a:lumOff val="10000"/>
                  </a:srgbClr>
                </a:solidFill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</a:br>
            <a:r>
              <a:rPr kumimoji="0" lang="es-CL" sz="900" b="0" i="0" strike="noStrike" kern="0" cap="none" spc="0" normalizeH="0" baseline="0" noProof="0">
                <a:ln>
                  <a:noFill/>
                </a:ln>
                <a:solidFill>
                  <a:srgbClr val="014B14">
                    <a:lumMod val="90000"/>
                    <a:lumOff val="10000"/>
                  </a:srgbClr>
                </a:solidFill>
                <a:uLnTx/>
                <a:uFillTx/>
                <a:latin typeface="Arial"/>
                <a:ea typeface="+mn-ea"/>
                <a:cs typeface="Arial"/>
                <a:sym typeface="Helvetica Neue"/>
              </a:rPr>
              <a:t>*CDE: Centro de entrenamiento</a:t>
            </a:r>
          </a:p>
        </p:txBody>
      </p:sp>
      <p:sp>
        <p:nvSpPr>
          <p:cNvPr id="27" name="Rectángulo 26"/>
          <p:cNvSpPr/>
          <p:nvPr/>
        </p:nvSpPr>
        <p:spPr>
          <a:xfrm>
            <a:off x="9048781" y="1294868"/>
            <a:ext cx="2987276" cy="6709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Redistribución de cuotas</a:t>
            </a:r>
          </a:p>
        </p:txBody>
      </p:sp>
      <p:cxnSp>
        <p:nvCxnSpPr>
          <p:cNvPr id="28" name="Conector recto de flecha 27"/>
          <p:cNvCxnSpPr/>
          <p:nvPr/>
        </p:nvCxnSpPr>
        <p:spPr>
          <a:xfrm>
            <a:off x="6754262" y="3042519"/>
            <a:ext cx="1555062" cy="0"/>
          </a:xfrm>
          <a:prstGeom prst="straightConnector1">
            <a:avLst/>
          </a:prstGeom>
          <a:ln w="57150">
            <a:solidFill>
              <a:srgbClr val="0099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ángulo 32"/>
          <p:cNvSpPr/>
          <p:nvPr/>
        </p:nvSpPr>
        <p:spPr>
          <a:xfrm>
            <a:off x="8823246" y="2183498"/>
            <a:ext cx="3371161" cy="1247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Generar </a:t>
            </a: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icket de Soporte Preventivo</a:t>
            </a: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**, adjuntando </a:t>
            </a:r>
            <a:r>
              <a:rPr kumimoji="0" lang="es-CL" sz="12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VB° de </a:t>
            </a:r>
            <a:r>
              <a:rPr kumimoji="0" lang="es-CL" sz="1200" b="1" i="0" u="none" strike="noStrike" kern="0" cap="none" spc="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JGCySP</a:t>
            </a:r>
            <a:r>
              <a:rPr kumimoji="0" lang="es-CL" sz="12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 / KAM de la cartera</a:t>
            </a:r>
          </a:p>
          <a:p>
            <a:pPr marL="285750" marR="0" lvl="0" indent="-28575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Detallar:</a:t>
            </a: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 Mes de origen, mes de destino, y N° de cuotas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6754262" y="2186453"/>
            <a:ext cx="1586889" cy="75713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uotas de una misma cartera/agencia de un mes a otro</a:t>
            </a:r>
          </a:p>
        </p:txBody>
      </p:sp>
      <p:sp>
        <p:nvSpPr>
          <p:cNvPr id="44" name="Rectángulo 43"/>
          <p:cNvSpPr/>
          <p:nvPr/>
        </p:nvSpPr>
        <p:spPr>
          <a:xfrm>
            <a:off x="6758056" y="3819613"/>
            <a:ext cx="1892454" cy="4247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uotas de una cartera/agencia a otra</a:t>
            </a:r>
          </a:p>
        </p:txBody>
      </p:sp>
      <p:sp>
        <p:nvSpPr>
          <p:cNvPr id="45" name="Rectángulo 44"/>
          <p:cNvSpPr/>
          <p:nvPr/>
        </p:nvSpPr>
        <p:spPr>
          <a:xfrm>
            <a:off x="8823246" y="3625246"/>
            <a:ext cx="3371161" cy="14134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Generar </a:t>
            </a: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icket de Soporte Preventivo</a:t>
            </a: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**, adjuntando </a:t>
            </a:r>
            <a:r>
              <a:rPr kumimoji="0" lang="es-CL" sz="12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VB° de Subgerencia, y </a:t>
            </a:r>
            <a:r>
              <a:rPr kumimoji="0" lang="es-CL" sz="1200" b="1" i="0" u="none" strike="noStrike" kern="0" cap="none" spc="0" normalizeH="0" baseline="0" noProof="0" err="1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JGCySP</a:t>
            </a:r>
            <a:r>
              <a:rPr kumimoji="0" lang="es-CL" sz="12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 / KAM de ambas carteras</a:t>
            </a:r>
          </a:p>
          <a:p>
            <a:pPr marL="285750" marR="0" lvl="0" indent="-28575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1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Detallar:</a:t>
            </a:r>
            <a:r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 Cartera de origen y de destino, Mes de origen, mes de destino, y N° de cuotas.</a:t>
            </a:r>
          </a:p>
        </p:txBody>
      </p:sp>
      <p:cxnSp>
        <p:nvCxnSpPr>
          <p:cNvPr id="20" name="Conector recto de flecha 19"/>
          <p:cNvCxnSpPr/>
          <p:nvPr/>
        </p:nvCxnSpPr>
        <p:spPr>
          <a:xfrm>
            <a:off x="6755197" y="4301873"/>
            <a:ext cx="1555062" cy="0"/>
          </a:xfrm>
          <a:prstGeom prst="straightConnector1">
            <a:avLst/>
          </a:prstGeom>
          <a:ln w="57150">
            <a:solidFill>
              <a:srgbClr val="0099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ángulo 23"/>
          <p:cNvSpPr/>
          <p:nvPr/>
        </p:nvSpPr>
        <p:spPr>
          <a:xfrm>
            <a:off x="9048780" y="5232726"/>
            <a:ext cx="2706340" cy="140243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1219169" rtl="0" eaLnBrk="1" fontAlgn="base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100" b="0" i="0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uLnTx/>
                <a:uFillTx/>
                <a:latin typeface="Arial"/>
                <a:ea typeface="+mn-ea"/>
                <a:cs typeface="Arial"/>
                <a:sym typeface="Helvetica Neue"/>
              </a:rPr>
              <a:t>**</a:t>
            </a:r>
            <a:r>
              <a:rPr kumimoji="0" lang="es-CL" sz="1200" b="0" i="0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uLnTx/>
                <a:uFillTx/>
                <a:latin typeface="Arial"/>
                <a:ea typeface="+mn-ea"/>
                <a:cs typeface="Arial"/>
                <a:sym typeface="Helvetica Neue"/>
              </a:rPr>
              <a:t>En el Ticket indicar:</a:t>
            </a:r>
            <a:r>
              <a:rPr kumimoji="0" lang="en-US" sz="1200" b="0" i="0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uLnTx/>
                <a:uFillTx/>
                <a:latin typeface="Arial"/>
                <a:ea typeface="+mn-ea"/>
                <a:cs typeface="Arial"/>
                <a:sym typeface="Helvetica Neue"/>
              </a:rPr>
              <a:t>​</a:t>
            </a:r>
          </a:p>
          <a:p>
            <a:pPr marL="0" marR="0" lvl="0" indent="0" algn="l" defTabSz="1219169" rtl="0" eaLnBrk="1" fontAlgn="base" latinLnBrk="0" hangingPunct="0">
              <a:lnSpc>
                <a:spcPct val="10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uLnTx/>
                <a:uFillTx/>
                <a:latin typeface="Arial"/>
                <a:ea typeface="+mn-ea"/>
                <a:cs typeface="Arial"/>
                <a:sym typeface="Helvetica Neue"/>
              </a:rPr>
              <a:t>Temas de ayuda: Capacitación Consultas Generales</a:t>
            </a:r>
            <a:r>
              <a:rPr kumimoji="0" lang="en-US" sz="1200" b="0" i="0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uLnTx/>
                <a:uFillTx/>
                <a:latin typeface="Arial"/>
                <a:ea typeface="+mn-ea"/>
                <a:cs typeface="Arial"/>
                <a:sym typeface="Helvetica Neue"/>
              </a:rPr>
              <a:t>​</a:t>
            </a:r>
          </a:p>
          <a:p>
            <a:pPr marL="0" marR="0" lvl="0" indent="0" algn="l" defTabSz="1219169" rtl="0" eaLnBrk="1" fontAlgn="base" latinLnBrk="0" hangingPunct="0">
              <a:lnSpc>
                <a:spcPct val="10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strike="noStrike" kern="0" cap="none" spc="0" normalizeH="0" baseline="0" noProof="0">
                <a:ln>
                  <a:noFill/>
                </a:ln>
                <a:solidFill>
                  <a:srgbClr val="014B14"/>
                </a:solidFill>
                <a:uLnTx/>
                <a:uFillTx/>
                <a:latin typeface="Arial"/>
                <a:ea typeface="+mn-ea"/>
                <a:cs typeface="Arial"/>
                <a:sym typeface="Helvetica Neue"/>
              </a:rPr>
              <a:t>Departamento: Capacitación</a:t>
            </a:r>
            <a:endParaRPr kumimoji="0" lang="en-US" sz="1200" b="0" i="1" strike="noStrike" kern="0" cap="none" spc="0" normalizeH="0" baseline="0" noProof="0">
              <a:ln>
                <a:noFill/>
              </a:ln>
              <a:solidFill>
                <a:srgbClr val="014B14"/>
              </a:solidFill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9876636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9" grpId="0"/>
      <p:bldP spid="44" grpId="0"/>
      <p:bldP spid="45" grpId="0"/>
      <p:bldP spid="24" grpId="0"/>
    </p:bldLst>
  </p:timing>
  <p:extLst>
    <p:ext uri="{6950BFC3-D8DA-4A85-94F7-54DA5524770B}">
      <p188:commentRel xmlns:p188="http://schemas.microsoft.com/office/powerpoint/2018/8/main" r:id="rId4"/>
    </p:ext>
  </p:extLs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37AC4924-9A4F-411D-A0FE-C7B72D55DF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37AC4924-9A4F-411D-A0FE-C7B72D55D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3FB3A349-2939-4B86-BDC6-CE26AF4C8E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Rectángulo: esquinas redondeadas 13">
            <a:extLst>
              <a:ext uri="{FF2B5EF4-FFF2-40B4-BE49-F238E27FC236}">
                <a16:creationId xmlns:a16="http://schemas.microsoft.com/office/drawing/2014/main" id="{CFCEE4DA-8E56-4A7A-9A1C-15BCCCFC6DD7}"/>
              </a:ext>
            </a:extLst>
          </p:cNvPr>
          <p:cNvSpPr/>
          <p:nvPr/>
        </p:nvSpPr>
        <p:spPr>
          <a:xfrm>
            <a:off x="862288" y="2914749"/>
            <a:ext cx="4089469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Salesforce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676B9995-7DFC-4176-8B07-6825E1215D5D}"/>
              </a:ext>
            </a:extLst>
          </p:cNvPr>
          <p:cNvSpPr/>
          <p:nvPr/>
        </p:nvSpPr>
        <p:spPr>
          <a:xfrm>
            <a:off x="875262" y="3627541"/>
            <a:ext cx="4093419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2 - 5 días hábiles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34" name="Rectángulo: esquinas redondeadas 33">
            <a:extLst>
              <a:ext uri="{FF2B5EF4-FFF2-40B4-BE49-F238E27FC236}">
                <a16:creationId xmlns:a16="http://schemas.microsoft.com/office/drawing/2014/main" id="{0B3A6A38-3F0C-4005-BA89-A1578267F60F}"/>
              </a:ext>
            </a:extLst>
          </p:cNvPr>
          <p:cNvSpPr/>
          <p:nvPr/>
        </p:nvSpPr>
        <p:spPr>
          <a:xfrm>
            <a:off x="6905841" y="2912607"/>
            <a:ext cx="1468227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Mail Plataforma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35" name="Rectángulo: esquinas redondeadas 34">
            <a:extLst>
              <a:ext uri="{FF2B5EF4-FFF2-40B4-BE49-F238E27FC236}">
                <a16:creationId xmlns:a16="http://schemas.microsoft.com/office/drawing/2014/main" id="{1D4DBB5D-02F3-4AD6-99E9-9E3C653FD6DC}"/>
              </a:ext>
            </a:extLst>
          </p:cNvPr>
          <p:cNvSpPr/>
          <p:nvPr/>
        </p:nvSpPr>
        <p:spPr>
          <a:xfrm>
            <a:off x="6905841" y="3659660"/>
            <a:ext cx="1468227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24 horas hábiles previos al curso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37" name="Rectángulo: esquinas redondeadas 36">
            <a:extLst>
              <a:ext uri="{FF2B5EF4-FFF2-40B4-BE49-F238E27FC236}">
                <a16:creationId xmlns:a16="http://schemas.microsoft.com/office/drawing/2014/main" id="{0FC5103A-A349-49DB-A66B-23CBD6065C28}"/>
              </a:ext>
            </a:extLst>
          </p:cNvPr>
          <p:cNvSpPr/>
          <p:nvPr/>
        </p:nvSpPr>
        <p:spPr>
          <a:xfrm>
            <a:off x="8484179" y="2925088"/>
            <a:ext cx="1538956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Plataform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(TEAMS/ZOOM)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39" name="Rectángulo: esquinas redondeadas 38">
            <a:extLst>
              <a:ext uri="{FF2B5EF4-FFF2-40B4-BE49-F238E27FC236}">
                <a16:creationId xmlns:a16="http://schemas.microsoft.com/office/drawing/2014/main" id="{687F77A3-39D5-4E7A-A59D-E4123D1A0AFB}"/>
              </a:ext>
            </a:extLst>
          </p:cNvPr>
          <p:cNvSpPr/>
          <p:nvPr/>
        </p:nvSpPr>
        <p:spPr>
          <a:xfrm>
            <a:off x="8484179" y="3669936"/>
            <a:ext cx="1538956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Automático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41" name="Rectángulo: esquinas redondeadas 40">
            <a:extLst>
              <a:ext uri="{FF2B5EF4-FFF2-40B4-BE49-F238E27FC236}">
                <a16:creationId xmlns:a16="http://schemas.microsoft.com/office/drawing/2014/main" id="{0AC7D0CA-4A62-4748-9FAA-41ADB4882EDE}"/>
              </a:ext>
            </a:extLst>
          </p:cNvPr>
          <p:cNvSpPr/>
          <p:nvPr/>
        </p:nvSpPr>
        <p:spPr>
          <a:xfrm>
            <a:off x="8501780" y="5190098"/>
            <a:ext cx="1503753" cy="1324635"/>
          </a:xfrm>
          <a:prstGeom prst="roundRect">
            <a:avLst>
              <a:gd name="adj" fmla="val 5659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Correo remitente link de ingres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(Inmediato)</a:t>
            </a:r>
            <a:endParaRPr kumimoji="0" lang="es-CL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0F91E363-F9E3-4EB1-8E5B-EC51D5EDA223}"/>
              </a:ext>
            </a:extLst>
          </p:cNvPr>
          <p:cNvCxnSpPr>
            <a:cxnSpLocks/>
          </p:cNvCxnSpPr>
          <p:nvPr/>
        </p:nvCxnSpPr>
        <p:spPr>
          <a:xfrm>
            <a:off x="931341" y="2762768"/>
            <a:ext cx="969666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ángulo: esquinas redondeadas 49">
            <a:extLst>
              <a:ext uri="{FF2B5EF4-FFF2-40B4-BE49-F238E27FC236}">
                <a16:creationId xmlns:a16="http://schemas.microsoft.com/office/drawing/2014/main" id="{1F97D076-9EE3-4B67-817B-5AD220BB4F20}"/>
              </a:ext>
            </a:extLst>
          </p:cNvPr>
          <p:cNvSpPr/>
          <p:nvPr/>
        </p:nvSpPr>
        <p:spPr>
          <a:xfrm>
            <a:off x="935291" y="5248750"/>
            <a:ext cx="4089470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Experto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53" name="Título 52">
            <a:extLst>
              <a:ext uri="{FF2B5EF4-FFF2-40B4-BE49-F238E27FC236}">
                <a16:creationId xmlns:a16="http://schemas.microsoft.com/office/drawing/2014/main" id="{57DAD60A-0443-4CAF-A454-53F9F4CE228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12405" y="91633"/>
            <a:ext cx="10515600" cy="496887"/>
          </a:xfrm>
          <a:prstGeom prst="rect">
            <a:avLst/>
          </a:prstGeom>
        </p:spPr>
        <p:txBody>
          <a:bodyPr vert="horz">
            <a:noAutofit/>
          </a:bodyPr>
          <a:lstStyle/>
          <a:p>
            <a:r>
              <a:rPr lang="es-ES" sz="2400" b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lle soporte: Streaming/Presencial</a:t>
            </a:r>
            <a:endParaRPr lang="es-CL" sz="2400" b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ángulo: esquinas redondeadas 31">
            <a:extLst>
              <a:ext uri="{FF2B5EF4-FFF2-40B4-BE49-F238E27FC236}">
                <a16:creationId xmlns:a16="http://schemas.microsoft.com/office/drawing/2014/main" id="{BA8E93D6-33BB-4061-993F-62DB312CBD6C}"/>
              </a:ext>
            </a:extLst>
          </p:cNvPr>
          <p:cNvSpPr/>
          <p:nvPr/>
        </p:nvSpPr>
        <p:spPr>
          <a:xfrm>
            <a:off x="5145098" y="2912279"/>
            <a:ext cx="1648986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Mail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45" name="Rectángulo: esquinas redondeadas 44">
            <a:extLst>
              <a:ext uri="{FF2B5EF4-FFF2-40B4-BE49-F238E27FC236}">
                <a16:creationId xmlns:a16="http://schemas.microsoft.com/office/drawing/2014/main" id="{78A05F81-64A5-495B-893A-E45FD27E2BE9}"/>
              </a:ext>
            </a:extLst>
          </p:cNvPr>
          <p:cNvSpPr/>
          <p:nvPr/>
        </p:nvSpPr>
        <p:spPr>
          <a:xfrm rot="16200000">
            <a:off x="213569" y="2880836"/>
            <a:ext cx="576000" cy="55612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Canal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46" name="Rectángulo: esquinas redondeadas 45">
            <a:extLst>
              <a:ext uri="{FF2B5EF4-FFF2-40B4-BE49-F238E27FC236}">
                <a16:creationId xmlns:a16="http://schemas.microsoft.com/office/drawing/2014/main" id="{8AB55221-B669-4C5A-8A2A-BB6596D1E280}"/>
              </a:ext>
            </a:extLst>
          </p:cNvPr>
          <p:cNvSpPr/>
          <p:nvPr/>
        </p:nvSpPr>
        <p:spPr>
          <a:xfrm rot="16200000">
            <a:off x="196414" y="3637477"/>
            <a:ext cx="576000" cy="55612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SLA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57" name="Rectángulo: esquinas redondeadas 56">
            <a:extLst>
              <a:ext uri="{FF2B5EF4-FFF2-40B4-BE49-F238E27FC236}">
                <a16:creationId xmlns:a16="http://schemas.microsoft.com/office/drawing/2014/main" id="{4D528332-7FFA-468E-A55B-9FB1A6BBAB4C}"/>
              </a:ext>
            </a:extLst>
          </p:cNvPr>
          <p:cNvSpPr/>
          <p:nvPr/>
        </p:nvSpPr>
        <p:spPr>
          <a:xfrm rot="16200000">
            <a:off x="-785483" y="5415097"/>
            <a:ext cx="2084001" cy="24330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Soporte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0" name="Rectángulo: esquinas redondeadas 59">
            <a:extLst>
              <a:ext uri="{FF2B5EF4-FFF2-40B4-BE49-F238E27FC236}">
                <a16:creationId xmlns:a16="http://schemas.microsoft.com/office/drawing/2014/main" id="{74480C59-121F-4458-8D1D-E846C9FB2EB4}"/>
              </a:ext>
            </a:extLst>
          </p:cNvPr>
          <p:cNvSpPr/>
          <p:nvPr/>
        </p:nvSpPr>
        <p:spPr>
          <a:xfrm rot="16200000">
            <a:off x="347727" y="4673886"/>
            <a:ext cx="586194" cy="24330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Experto</a:t>
            </a:r>
            <a:endParaRPr kumimoji="0" lang="es-CL" sz="8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1" name="Rectángulo: esquinas redondeadas 60">
            <a:extLst>
              <a:ext uri="{FF2B5EF4-FFF2-40B4-BE49-F238E27FC236}">
                <a16:creationId xmlns:a16="http://schemas.microsoft.com/office/drawing/2014/main" id="{5C2BEA06-B4CD-48A9-B69F-97384D51E744}"/>
              </a:ext>
            </a:extLst>
          </p:cNvPr>
          <p:cNvSpPr/>
          <p:nvPr/>
        </p:nvSpPr>
        <p:spPr>
          <a:xfrm rot="16200000">
            <a:off x="351068" y="5392031"/>
            <a:ext cx="586194" cy="24330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Empresa</a:t>
            </a:r>
            <a:endParaRPr kumimoji="0" lang="es-CL" sz="8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2" name="Rectángulo: esquinas redondeadas 61">
            <a:extLst>
              <a:ext uri="{FF2B5EF4-FFF2-40B4-BE49-F238E27FC236}">
                <a16:creationId xmlns:a16="http://schemas.microsoft.com/office/drawing/2014/main" id="{D3784A3E-3B4C-405C-860A-3EEA8875FB6D}"/>
              </a:ext>
            </a:extLst>
          </p:cNvPr>
          <p:cNvSpPr/>
          <p:nvPr/>
        </p:nvSpPr>
        <p:spPr>
          <a:xfrm rot="16200000">
            <a:off x="361594" y="6109671"/>
            <a:ext cx="576001" cy="23412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Trabajador</a:t>
            </a:r>
            <a:endParaRPr kumimoji="0" lang="es-CL" sz="8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43" name="Rectángulo: esquinas redondeadas 42">
            <a:extLst>
              <a:ext uri="{FF2B5EF4-FFF2-40B4-BE49-F238E27FC236}">
                <a16:creationId xmlns:a16="http://schemas.microsoft.com/office/drawing/2014/main" id="{C7EB9B00-5304-4C4B-827A-A4495A3F77D6}"/>
              </a:ext>
            </a:extLst>
          </p:cNvPr>
          <p:cNvSpPr/>
          <p:nvPr/>
        </p:nvSpPr>
        <p:spPr>
          <a:xfrm>
            <a:off x="10151476" y="2912279"/>
            <a:ext cx="1538956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Portal de Diplomas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47" name="Rectángulo: esquinas redondeadas 46">
            <a:extLst>
              <a:ext uri="{FF2B5EF4-FFF2-40B4-BE49-F238E27FC236}">
                <a16:creationId xmlns:a16="http://schemas.microsoft.com/office/drawing/2014/main" id="{6F7504A6-D19D-48B7-961F-45460EA93A18}"/>
              </a:ext>
            </a:extLst>
          </p:cNvPr>
          <p:cNvSpPr/>
          <p:nvPr/>
        </p:nvSpPr>
        <p:spPr>
          <a:xfrm>
            <a:off x="10151476" y="3659660"/>
            <a:ext cx="1538956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 días hábiles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51" name="Rectángulo: esquinas redondeadas 50">
            <a:extLst>
              <a:ext uri="{FF2B5EF4-FFF2-40B4-BE49-F238E27FC236}">
                <a16:creationId xmlns:a16="http://schemas.microsoft.com/office/drawing/2014/main" id="{E51F4E5B-3B8A-47CB-BB14-255D555CD525}"/>
              </a:ext>
            </a:extLst>
          </p:cNvPr>
          <p:cNvSpPr/>
          <p:nvPr/>
        </p:nvSpPr>
        <p:spPr>
          <a:xfrm>
            <a:off x="10169077" y="5190099"/>
            <a:ext cx="1503753" cy="1324635"/>
          </a:xfrm>
          <a:prstGeom prst="roundRect">
            <a:avLst>
              <a:gd name="adj" fmla="val 5659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apacitació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diplomas@achs.c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(48 horas hábiles)</a:t>
            </a:r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sp>
        <p:nvSpPr>
          <p:cNvPr id="56" name="Rectángulo: esquinas redondeadas 55">
            <a:extLst>
              <a:ext uri="{FF2B5EF4-FFF2-40B4-BE49-F238E27FC236}">
                <a16:creationId xmlns:a16="http://schemas.microsoft.com/office/drawing/2014/main" id="{A0EA595A-59C6-4FF9-A65E-9C9D395F217C}"/>
              </a:ext>
            </a:extLst>
          </p:cNvPr>
          <p:cNvSpPr/>
          <p:nvPr/>
        </p:nvSpPr>
        <p:spPr>
          <a:xfrm>
            <a:off x="935292" y="4516935"/>
            <a:ext cx="4089469" cy="58619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Chatter Salesforce </a:t>
            </a: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(24 horas hábiles)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3" name="Rectángulo: esquinas redondeadas 62">
            <a:extLst>
              <a:ext uri="{FF2B5EF4-FFF2-40B4-BE49-F238E27FC236}">
                <a16:creationId xmlns:a16="http://schemas.microsoft.com/office/drawing/2014/main" id="{D36246CA-C0A7-406D-A214-6A8C9B0645D5}"/>
              </a:ext>
            </a:extLst>
          </p:cNvPr>
          <p:cNvSpPr/>
          <p:nvPr/>
        </p:nvSpPr>
        <p:spPr>
          <a:xfrm>
            <a:off x="8484179" y="4455650"/>
            <a:ext cx="1538956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Teams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42" name="Flecha: pentágono 5">
            <a:extLst>
              <a:ext uri="{FF2B5EF4-FFF2-40B4-BE49-F238E27FC236}">
                <a16:creationId xmlns:a16="http://schemas.microsoft.com/office/drawing/2014/main" id="{6AF7596E-FBFD-4E1A-BAF9-4E965CBBB494}"/>
              </a:ext>
            </a:extLst>
          </p:cNvPr>
          <p:cNvSpPr/>
          <p:nvPr/>
        </p:nvSpPr>
        <p:spPr>
          <a:xfrm>
            <a:off x="861915" y="1274203"/>
            <a:ext cx="1008488" cy="1509055"/>
          </a:xfrm>
          <a:prstGeom prst="homePlate">
            <a:avLst>
              <a:gd name="adj" fmla="val 42040"/>
            </a:avLst>
          </a:prstGeom>
          <a:solidFill>
            <a:srgbClr val="004A51"/>
          </a:solidFill>
          <a:ln>
            <a:solidFill>
              <a:srgbClr val="0079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Ingreso Solicitud</a:t>
            </a:r>
          </a:p>
        </p:txBody>
      </p:sp>
      <p:sp>
        <p:nvSpPr>
          <p:cNvPr id="48" name="Flecha: cheurón 21">
            <a:extLst>
              <a:ext uri="{FF2B5EF4-FFF2-40B4-BE49-F238E27FC236}">
                <a16:creationId xmlns:a16="http://schemas.microsoft.com/office/drawing/2014/main" id="{C442E8BA-D952-4D1B-B6E0-AB7AA5C22544}"/>
              </a:ext>
            </a:extLst>
          </p:cNvPr>
          <p:cNvSpPr/>
          <p:nvPr/>
        </p:nvSpPr>
        <p:spPr>
          <a:xfrm>
            <a:off x="1570903" y="1279601"/>
            <a:ext cx="1818703" cy="1508958"/>
          </a:xfrm>
          <a:prstGeom prst="chevron">
            <a:avLst>
              <a:gd name="adj" fmla="val 24063"/>
            </a:avLst>
          </a:prstGeom>
          <a:solidFill>
            <a:srgbClr val="004A51"/>
          </a:solidFill>
          <a:ln>
            <a:solidFill>
              <a:srgbClr val="0079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Revisión de Solicitud</a:t>
            </a: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59" name="Flecha: cheurón 25">
            <a:extLst>
              <a:ext uri="{FF2B5EF4-FFF2-40B4-BE49-F238E27FC236}">
                <a16:creationId xmlns:a16="http://schemas.microsoft.com/office/drawing/2014/main" id="{0E9969A2-1812-4719-8EE0-26BC94EEE16A}"/>
              </a:ext>
            </a:extLst>
          </p:cNvPr>
          <p:cNvSpPr/>
          <p:nvPr/>
        </p:nvSpPr>
        <p:spPr>
          <a:xfrm>
            <a:off x="5162080" y="1274550"/>
            <a:ext cx="2005341" cy="1508363"/>
          </a:xfrm>
          <a:prstGeom prst="chevron">
            <a:avLst>
              <a:gd name="adj" fmla="val 23373"/>
            </a:avLst>
          </a:prstGeom>
          <a:solidFill>
            <a:srgbClr val="004A51"/>
          </a:solidFill>
          <a:ln>
            <a:solidFill>
              <a:srgbClr val="0079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Envío de correo confirmación</a:t>
            </a: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4" name="Flecha: cheurón 26">
            <a:extLst>
              <a:ext uri="{FF2B5EF4-FFF2-40B4-BE49-F238E27FC236}">
                <a16:creationId xmlns:a16="http://schemas.microsoft.com/office/drawing/2014/main" id="{D9AB44F9-AF3A-4184-975A-7037F2ED3418}"/>
              </a:ext>
            </a:extLst>
          </p:cNvPr>
          <p:cNvSpPr/>
          <p:nvPr/>
        </p:nvSpPr>
        <p:spPr>
          <a:xfrm>
            <a:off x="6905841" y="1294880"/>
            <a:ext cx="1818702" cy="1508363"/>
          </a:xfrm>
          <a:prstGeom prst="chevron">
            <a:avLst>
              <a:gd name="adj" fmla="val 24908"/>
            </a:avLst>
          </a:prstGeom>
          <a:solidFill>
            <a:srgbClr val="004A51"/>
          </a:solidFill>
          <a:ln>
            <a:solidFill>
              <a:srgbClr val="0079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 Envío link de ingres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5" name="Flecha: cheurón 27">
            <a:extLst>
              <a:ext uri="{FF2B5EF4-FFF2-40B4-BE49-F238E27FC236}">
                <a16:creationId xmlns:a16="http://schemas.microsoft.com/office/drawing/2014/main" id="{F732690D-6041-4E11-A91A-5DBA8D1ECC8E}"/>
              </a:ext>
            </a:extLst>
          </p:cNvPr>
          <p:cNvSpPr/>
          <p:nvPr/>
        </p:nvSpPr>
        <p:spPr>
          <a:xfrm>
            <a:off x="8484179" y="1287359"/>
            <a:ext cx="1818702" cy="1508363"/>
          </a:xfrm>
          <a:prstGeom prst="chevron">
            <a:avLst>
              <a:gd name="adj" fmla="val 23373"/>
            </a:avLst>
          </a:prstGeom>
          <a:solidFill>
            <a:srgbClr val="004A51"/>
          </a:solidFill>
          <a:ln>
            <a:solidFill>
              <a:srgbClr val="0079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Registro  plataforma y ejecución del curso</a:t>
            </a: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6" name="Paralelogramo 65">
            <a:extLst>
              <a:ext uri="{FF2B5EF4-FFF2-40B4-BE49-F238E27FC236}">
                <a16:creationId xmlns:a16="http://schemas.microsoft.com/office/drawing/2014/main" id="{6A333123-DCE9-48F3-A05C-19ADBDA4AA3E}"/>
              </a:ext>
            </a:extLst>
          </p:cNvPr>
          <p:cNvSpPr/>
          <p:nvPr/>
        </p:nvSpPr>
        <p:spPr>
          <a:xfrm>
            <a:off x="3143376" y="2086995"/>
            <a:ext cx="2268272" cy="699245"/>
          </a:xfrm>
          <a:prstGeom prst="parallelogram">
            <a:avLst>
              <a:gd name="adj" fmla="val 47549"/>
            </a:avLst>
          </a:prstGeom>
          <a:solidFill>
            <a:srgbClr val="004A51"/>
          </a:solidFill>
          <a:ln>
            <a:solidFill>
              <a:srgbClr val="0079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Aprobación</a:t>
            </a:r>
            <a:endParaRPr kumimoji="0" lang="es-CL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7" name="Paralelogramo 66">
            <a:extLst>
              <a:ext uri="{FF2B5EF4-FFF2-40B4-BE49-F238E27FC236}">
                <a16:creationId xmlns:a16="http://schemas.microsoft.com/office/drawing/2014/main" id="{1DAC16C4-7464-44F1-B0E7-71544FA1269F}"/>
              </a:ext>
            </a:extLst>
          </p:cNvPr>
          <p:cNvSpPr/>
          <p:nvPr/>
        </p:nvSpPr>
        <p:spPr>
          <a:xfrm flipH="1">
            <a:off x="3138632" y="1285878"/>
            <a:ext cx="2277759" cy="771524"/>
          </a:xfrm>
          <a:prstGeom prst="parallelogram">
            <a:avLst>
              <a:gd name="adj" fmla="val 47549"/>
            </a:avLst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Rechazo</a:t>
            </a:r>
            <a:endParaRPr kumimoji="0" lang="es-CL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Fuera de plaz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Error o falta de formulari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Información inconsistent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9" name="Rectángulo: esquinas redondeadas 43">
            <a:extLst>
              <a:ext uri="{FF2B5EF4-FFF2-40B4-BE49-F238E27FC236}">
                <a16:creationId xmlns:a16="http://schemas.microsoft.com/office/drawing/2014/main" id="{F7EC6C7C-F6FD-4D6C-B7AF-75688C024CA8}"/>
              </a:ext>
            </a:extLst>
          </p:cNvPr>
          <p:cNvSpPr/>
          <p:nvPr/>
        </p:nvSpPr>
        <p:spPr>
          <a:xfrm rot="16200000">
            <a:off x="-266811" y="1667374"/>
            <a:ext cx="1508708" cy="54987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Proceso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70" name="Flecha: cheurón 39">
            <a:extLst>
              <a:ext uri="{FF2B5EF4-FFF2-40B4-BE49-F238E27FC236}">
                <a16:creationId xmlns:a16="http://schemas.microsoft.com/office/drawing/2014/main" id="{18BED688-2CD3-4F34-8BCB-C4F3742C9156}"/>
              </a:ext>
            </a:extLst>
          </p:cNvPr>
          <p:cNvSpPr/>
          <p:nvPr/>
        </p:nvSpPr>
        <p:spPr>
          <a:xfrm>
            <a:off x="10041301" y="1302402"/>
            <a:ext cx="1542885" cy="1508363"/>
          </a:xfrm>
          <a:prstGeom prst="chevron">
            <a:avLst>
              <a:gd name="adj" fmla="val 26259"/>
            </a:avLst>
          </a:prstGeom>
          <a:solidFill>
            <a:srgbClr val="004A51"/>
          </a:solidFill>
          <a:ln>
            <a:solidFill>
              <a:srgbClr val="0079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Diploma</a:t>
            </a: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44" name="Rectángulo: esquinas redondeadas 13">
            <a:extLst>
              <a:ext uri="{FF2B5EF4-FFF2-40B4-BE49-F238E27FC236}">
                <a16:creationId xmlns:a16="http://schemas.microsoft.com/office/drawing/2014/main" id="{CFCEE4DA-8E56-4A7A-9A1C-15BCCCFC6DD7}"/>
              </a:ext>
            </a:extLst>
          </p:cNvPr>
          <p:cNvSpPr/>
          <p:nvPr/>
        </p:nvSpPr>
        <p:spPr>
          <a:xfrm>
            <a:off x="912420" y="991381"/>
            <a:ext cx="5862743" cy="2231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Experto / Operaciones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52" name="Rectángulo: esquinas redondeadas 14">
            <a:extLst>
              <a:ext uri="{FF2B5EF4-FFF2-40B4-BE49-F238E27FC236}">
                <a16:creationId xmlns:a16="http://schemas.microsoft.com/office/drawing/2014/main" id="{676B9995-7DFC-4176-8B07-6825E1215D5D}"/>
              </a:ext>
            </a:extLst>
          </p:cNvPr>
          <p:cNvSpPr/>
          <p:nvPr/>
        </p:nvSpPr>
        <p:spPr>
          <a:xfrm>
            <a:off x="5134872" y="3642571"/>
            <a:ext cx="1659212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2 - 5 días hábiles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55" name="Rectángulo: esquinas redondeadas 13">
            <a:extLst>
              <a:ext uri="{FF2B5EF4-FFF2-40B4-BE49-F238E27FC236}">
                <a16:creationId xmlns:a16="http://schemas.microsoft.com/office/drawing/2014/main" id="{CFCEE4DA-8E56-4A7A-9A1C-15BCCCFC6DD7}"/>
              </a:ext>
            </a:extLst>
          </p:cNvPr>
          <p:cNvSpPr/>
          <p:nvPr/>
        </p:nvSpPr>
        <p:spPr>
          <a:xfrm>
            <a:off x="6925105" y="990629"/>
            <a:ext cx="3995848" cy="22387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Empresa / Participante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58" name="Rectángulo: esquinas redondeadas 55">
            <a:extLst>
              <a:ext uri="{FF2B5EF4-FFF2-40B4-BE49-F238E27FC236}">
                <a16:creationId xmlns:a16="http://schemas.microsoft.com/office/drawing/2014/main" id="{A0EA595A-59C6-4FF9-A65E-9C9D395F217C}"/>
              </a:ext>
            </a:extLst>
          </p:cNvPr>
          <p:cNvSpPr/>
          <p:nvPr/>
        </p:nvSpPr>
        <p:spPr>
          <a:xfrm>
            <a:off x="5152410" y="4516934"/>
            <a:ext cx="1622753" cy="58619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Chatter Salesforce </a:t>
            </a: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(24 horas hábiles)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72" name="Rectángulo: esquinas redondeadas 50">
            <a:extLst>
              <a:ext uri="{FF2B5EF4-FFF2-40B4-BE49-F238E27FC236}">
                <a16:creationId xmlns:a16="http://schemas.microsoft.com/office/drawing/2014/main" id="{E51F4E5B-3B8A-47CB-BB14-255D555CD525}"/>
              </a:ext>
            </a:extLst>
          </p:cNvPr>
          <p:cNvSpPr/>
          <p:nvPr/>
        </p:nvSpPr>
        <p:spPr>
          <a:xfrm>
            <a:off x="10169077" y="4461487"/>
            <a:ext cx="1503753" cy="604268"/>
          </a:xfrm>
          <a:prstGeom prst="roundRect">
            <a:avLst>
              <a:gd name="adj" fmla="val 5659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apacitació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diplomas@achs.c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(48 horas hábiles)</a:t>
            </a:r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sp>
        <p:nvSpPr>
          <p:cNvPr id="73" name="Rectángulo: esquinas redondeadas 49">
            <a:extLst>
              <a:ext uri="{FF2B5EF4-FFF2-40B4-BE49-F238E27FC236}">
                <a16:creationId xmlns:a16="http://schemas.microsoft.com/office/drawing/2014/main" id="{1F97D076-9EE3-4B67-817B-5AD220BB4F20}"/>
              </a:ext>
            </a:extLst>
          </p:cNvPr>
          <p:cNvSpPr/>
          <p:nvPr/>
        </p:nvSpPr>
        <p:spPr>
          <a:xfrm>
            <a:off x="5171331" y="5230782"/>
            <a:ext cx="1622754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Experto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74" name="Rectángulo: esquinas redondeadas 49">
            <a:extLst>
              <a:ext uri="{FF2B5EF4-FFF2-40B4-BE49-F238E27FC236}">
                <a16:creationId xmlns:a16="http://schemas.microsoft.com/office/drawing/2014/main" id="{1F97D076-9EE3-4B67-817B-5AD220BB4F20}"/>
              </a:ext>
            </a:extLst>
          </p:cNvPr>
          <p:cNvSpPr/>
          <p:nvPr/>
        </p:nvSpPr>
        <p:spPr>
          <a:xfrm>
            <a:off x="6892746" y="5248750"/>
            <a:ext cx="1494415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Experto / 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achscapacitacion@achs.cl</a:t>
            </a: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099859586"/>
      </p:ext>
    </p:extLst>
  </p:cSld>
  <p:clrMapOvr>
    <a:masterClrMapping/>
  </p:clrMapOvr>
  <p:transition spd="med"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215105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2">
            <a:extLst>
              <a:ext uri="{FF2B5EF4-FFF2-40B4-BE49-F238E27FC236}">
                <a16:creationId xmlns:a16="http://schemas.microsoft.com/office/drawing/2014/main" id="{3ACCB2AA-1FDB-755A-C3DA-F917D85A5A3D}"/>
              </a:ext>
            </a:extLst>
          </p:cNvPr>
          <p:cNvSpPr txBox="1">
            <a:spLocks/>
          </p:cNvSpPr>
          <p:nvPr/>
        </p:nvSpPr>
        <p:spPr>
          <a:xfrm>
            <a:off x="5614259" y="1761812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600" b="0" i="0" u="none" strike="noStrike" cap="none" spc="0" baseline="0">
                <a:solidFill>
                  <a:schemeClr val="tx1"/>
                </a:solidFill>
                <a:uFillTx/>
                <a:latin typeface="ACHS Nueva Serif" pitchFamily="2" charset="77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s-CL" sz="2600" b="0" i="0" u="none" strike="noStrike" kern="0" cap="none" spc="0" normalizeH="0" baseline="0" noProof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CHS Nueva Serif" pitchFamily="2" charset="77"/>
              <a:cs typeface="Arial"/>
              <a:sym typeface="Arial"/>
            </a:endParaRPr>
          </a:p>
        </p:txBody>
      </p:sp>
      <p:pic>
        <p:nvPicPr>
          <p:cNvPr id="10" name="Picture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B82358B7-CC7F-A326-05E4-B546CE678C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" y="719224"/>
            <a:ext cx="6091995" cy="224768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148A066-C302-C5F5-E886-9C8DAA6CE652}"/>
              </a:ext>
            </a:extLst>
          </p:cNvPr>
          <p:cNvSpPr txBox="1"/>
          <p:nvPr/>
        </p:nvSpPr>
        <p:spPr>
          <a:xfrm>
            <a:off x="9352835" y="1416914"/>
            <a:ext cx="2240599" cy="2964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greso</a:t>
            </a:r>
            <a:r>
              <a:rPr kumimoji="0" lang="en-US" sz="1400" b="1" i="0" u="sng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 </a:t>
            </a:r>
            <a:r>
              <a:rPr kumimoji="0" lang="en-US" sz="1400" b="1" i="0" u="sng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olicitud</a:t>
            </a:r>
            <a:endParaRPr kumimoji="0" lang="en-US" sz="1400" b="1" i="0" u="sng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B935EA-561A-6145-20BD-657BF4FEF821}"/>
              </a:ext>
            </a:extLst>
          </p:cNvPr>
          <p:cNvSpPr txBox="1"/>
          <p:nvPr/>
        </p:nvSpPr>
        <p:spPr>
          <a:xfrm>
            <a:off x="9144001" y="1878127"/>
            <a:ext cx="2905246" cy="47725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n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l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módulo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greso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 solicitudes y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mpromiso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con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nuestra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ntidade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adherida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ig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los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iguiente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pasos: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85750" marR="0" lvl="0" indent="-28575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eleccion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opci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"Capacitaciones"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menú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rrespondient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85750" marR="0" lvl="0" indent="-28575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ntinuaci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hag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lic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bot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"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iguiente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"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par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ntinua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con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proces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.</a:t>
            </a: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</a:b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En solicitudes y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compromis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/ Capacitaciones</a:t>
            </a: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</a:b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</a:b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hag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clic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e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bot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“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Siguiente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”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 par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continua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 con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proces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  <a:t>.</a:t>
            </a: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Helvetica Neue"/>
              </a:rPr>
            </a:b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85750" marR="0" lvl="0" indent="-28575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E9EADD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pic>
        <p:nvPicPr>
          <p:cNvPr id="22" name="Picture 21" descr="A screenshot of a white background&#10;&#10;AI-generated content may be incorrect.">
            <a:extLst>
              <a:ext uri="{FF2B5EF4-FFF2-40B4-BE49-F238E27FC236}">
                <a16:creationId xmlns:a16="http://schemas.microsoft.com/office/drawing/2014/main" id="{760303E8-A197-16F6-4665-E363259EB2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532" y="3414741"/>
            <a:ext cx="6044522" cy="207352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6B6B39E-3EBC-8C49-BB7E-0B37886B3092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AEA87A56-7905-F2F6-2C95-05D31032F89D}"/>
              </a:ext>
            </a:extLst>
          </p:cNvPr>
          <p:cNvSpPr/>
          <p:nvPr/>
        </p:nvSpPr>
        <p:spPr>
          <a:xfrm>
            <a:off x="2562607" y="2411995"/>
            <a:ext cx="1292217" cy="107087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Flecha: a la derecha 3">
            <a:extLst>
              <a:ext uri="{FF2B5EF4-FFF2-40B4-BE49-F238E27FC236}">
                <a16:creationId xmlns:a16="http://schemas.microsoft.com/office/drawing/2014/main" id="{6C8F98C9-BA98-5C30-FBFB-36E8A251963E}"/>
              </a:ext>
            </a:extLst>
          </p:cNvPr>
          <p:cNvSpPr/>
          <p:nvPr/>
        </p:nvSpPr>
        <p:spPr>
          <a:xfrm>
            <a:off x="5614259" y="2788024"/>
            <a:ext cx="481741" cy="134470"/>
          </a:xfrm>
          <a:prstGeom prst="rightArrow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D07D6958-006E-0C85-A2E6-AEC0FCD0FD0C}"/>
              </a:ext>
            </a:extLst>
          </p:cNvPr>
          <p:cNvSpPr/>
          <p:nvPr/>
        </p:nvSpPr>
        <p:spPr>
          <a:xfrm>
            <a:off x="6033247" y="5146231"/>
            <a:ext cx="695280" cy="342035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00161183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9C7768-9CA5-A09F-AA7B-6D0533D57BA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6" name="Picture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E2EEFA4D-03CF-7630-F28D-AD51302398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193" y="1789262"/>
            <a:ext cx="7900721" cy="327892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A2AAAA0-68F1-5B7A-4DE4-BCF67D160ED7}"/>
              </a:ext>
            </a:extLst>
          </p:cNvPr>
          <p:cNvSpPr txBox="1"/>
          <p:nvPr/>
        </p:nvSpPr>
        <p:spPr>
          <a:xfrm>
            <a:off x="9236462" y="1171507"/>
            <a:ext cx="2697629" cy="48818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n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st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ecci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deberá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gresa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formaci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rrespondient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a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mpres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que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olicit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urs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¿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Qué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dato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debe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gresar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?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85750" marR="0" lvl="0" indent="-28575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RUT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mpresa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85750" marR="0" lvl="0" indent="-28575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Razón socia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mpresa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85750" marR="0" lvl="0" indent="-28575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¿Es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usted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la persona que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asesor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a la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mpres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n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st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apacitación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?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85750" marR="0" lvl="1" indent="-28575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eleccion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í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o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N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egú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rrespond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0" marR="0" lvl="1" indent="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Un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vez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mpletad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st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campos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hag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lic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bot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“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iguiente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”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par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ntinua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con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proces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olicitud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E9EADD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003A9C-6D75-6180-C167-1C2C53356D94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3" name="Rectángulo: esquinas redondeadas 2">
            <a:extLst>
              <a:ext uri="{FF2B5EF4-FFF2-40B4-BE49-F238E27FC236}">
                <a16:creationId xmlns:a16="http://schemas.microsoft.com/office/drawing/2014/main" id="{F4AC1741-4A3A-C6CB-C85A-495FD9CEC439}"/>
              </a:ext>
            </a:extLst>
          </p:cNvPr>
          <p:cNvSpPr/>
          <p:nvPr/>
        </p:nvSpPr>
        <p:spPr>
          <a:xfrm>
            <a:off x="7539318" y="4726149"/>
            <a:ext cx="807648" cy="342035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418971056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E79C0AD-3570-4AEB-F1F3-35DA1190FBD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6" name="Picture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4C89CE51-C0A9-4DB0-7B1A-3ADBFFB765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888" y="1714908"/>
            <a:ext cx="7953146" cy="33084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D45A2D4-6DC4-D000-4860-3A1D1EBAA5DB}"/>
              </a:ext>
            </a:extLst>
          </p:cNvPr>
          <p:cNvSpPr txBox="1"/>
          <p:nvPr/>
        </p:nvSpPr>
        <p:spPr>
          <a:xfrm>
            <a:off x="9142732" y="2042433"/>
            <a:ext cx="2767914" cy="3702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Al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mpleta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st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ecci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deberá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gresa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los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dat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ntact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rrespondiente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a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mpres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olicitant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specíficament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los de la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ntraparte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responsable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l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urs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Un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vez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mpletad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los campos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ntinú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con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iguient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paso del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formulari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.</a:t>
            </a:r>
          </a:p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Importante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: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</a:b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</a:b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Asegúrese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de que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tod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la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información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ingresad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esté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actualizad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,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y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que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será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utilizad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para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omunicacione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oficiale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y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oordinación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del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proceso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formativo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452597-FBB9-89B2-B115-894DCF9D3BA9}"/>
              </a:ext>
            </a:extLst>
          </p:cNvPr>
          <p:cNvSpPr txBox="1"/>
          <p:nvPr/>
        </p:nvSpPr>
        <p:spPr>
          <a:xfrm>
            <a:off x="8950569" y="1404567"/>
            <a:ext cx="5639497" cy="2964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n-US" sz="1400" b="1" i="0" u="sng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ngreso</a:t>
            </a:r>
            <a:r>
              <a:rPr kumimoji="0" lang="en-US" sz="1400" b="1" i="0" u="sng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 de Datos de Contacto </a:t>
            </a:r>
            <a:endParaRPr kumimoji="0" lang="en-US" sz="1400" b="1" i="0" u="sng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8E3DD6-49D7-F25B-BD0E-AB32400A582C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D4B241C0-0402-DE8B-DEAD-24084C9FB34D}"/>
              </a:ext>
            </a:extLst>
          </p:cNvPr>
          <p:cNvSpPr/>
          <p:nvPr/>
        </p:nvSpPr>
        <p:spPr>
          <a:xfrm>
            <a:off x="7810464" y="4681289"/>
            <a:ext cx="695280" cy="342035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567695108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057C8C-D308-9511-45B8-C185B0020995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A8F7A1D-D21D-C475-2F51-E1CC5E52A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237" y="1427705"/>
            <a:ext cx="7978749" cy="39845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34B0695-2230-31EB-692B-2E03FAB1D325}"/>
              </a:ext>
            </a:extLst>
          </p:cNvPr>
          <p:cNvSpPr txBox="1"/>
          <p:nvPr/>
        </p:nvSpPr>
        <p:spPr>
          <a:xfrm>
            <a:off x="9015749" y="1301488"/>
            <a:ext cx="2475875" cy="4903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greso</a:t>
            </a:r>
            <a:r>
              <a:rPr kumimoji="0" lang="en-US" sz="1400" b="1" i="0" u="sng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 </a:t>
            </a:r>
            <a:r>
              <a:rPr kumimoji="0" lang="en-US" sz="1400" b="1" i="0" u="sng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aracterísticas</a:t>
            </a:r>
            <a:r>
              <a:rPr kumimoji="0" lang="en-US" sz="1400" b="1" i="0" u="sng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l </a:t>
            </a:r>
            <a:r>
              <a:rPr kumimoji="0" lang="en-US" sz="1400" b="1" i="0" u="sng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urso</a:t>
            </a:r>
            <a:endParaRPr kumimoji="0" lang="en-US" sz="1400" b="1" i="0" u="sng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C92F68-B966-8654-432D-6AD77DE237DF}"/>
              </a:ext>
            </a:extLst>
          </p:cNvPr>
          <p:cNvSpPr txBox="1"/>
          <p:nvPr/>
        </p:nvSpPr>
        <p:spPr>
          <a:xfrm>
            <a:off x="9011218" y="1619894"/>
            <a:ext cx="3023775" cy="46145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ntinuaci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deberá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gresa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las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aracterística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l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urs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olicitad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cluyend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iguient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formaci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: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85750" marR="0" lvl="0" indent="-28575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Modalidad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l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urs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: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Abiert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o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errado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  <a:sym typeface="Helvetica Neue"/>
            </a:endParaRPr>
          </a:p>
          <a:p>
            <a:pPr marL="285750" marR="0" lvl="0" indent="-28575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Tipo de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proyecto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85750" marR="0" lvl="0" indent="-28575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Fech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ici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l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urso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85750" marR="0" lvl="0" indent="-28575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Fech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alternativ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de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icio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  <a:sym typeface="Helvetica Neue"/>
            </a:endParaRPr>
          </a:p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(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st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fech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deb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sta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previament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nsencuad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y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que sera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egund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opcio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para que Otec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busqu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relator)</a:t>
            </a: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</a:b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</a:b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Indica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i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solicitud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correspond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un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sym typeface="Helvetica Neue"/>
              </a:rPr>
              <a:t>excepción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E9EADD"/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042CCA-160A-62EF-DABD-CDD7234BDD64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216198237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9DD6BD-0D20-0692-B592-DFD4518C524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marL="0" marR="0" lvl="0" indent="0" algn="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7290F3-BA30-9341-A10E-737EC97582C1}" type="slidenum">
              <a:rPr kumimoji="0" lang="es-CL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pPr marL="0" marR="0" lvl="0" indent="0" algn="r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C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E068322B-DA98-4AF1-FE35-9D1892E7A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834" y="1705607"/>
            <a:ext cx="7698831" cy="328772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BC7601C-73AE-F290-9545-EEF9F90D1730}"/>
              </a:ext>
            </a:extLst>
          </p:cNvPr>
          <p:cNvSpPr txBox="1"/>
          <p:nvPr/>
        </p:nvSpPr>
        <p:spPr>
          <a:xfrm>
            <a:off x="8951996" y="1557361"/>
            <a:ext cx="3240004" cy="2964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Ingreso</a:t>
            </a:r>
            <a:r>
              <a:rPr kumimoji="0" lang="en-US" sz="1400" b="1" i="0" u="sng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de </a:t>
            </a:r>
            <a:r>
              <a:rPr kumimoji="0" lang="en-US" sz="1400" b="1" i="0" u="sng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aracterísticas</a:t>
            </a:r>
            <a:r>
              <a:rPr kumimoji="0" lang="en-US" sz="1400" b="1" i="0" u="sng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 del </a:t>
            </a:r>
            <a:r>
              <a:rPr kumimoji="0" lang="en-US" sz="1400" b="1" i="0" u="sng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Helvetica Neue"/>
              </a:rPr>
              <a:t>Curso</a:t>
            </a:r>
            <a:endParaRPr kumimoji="0" lang="en-US" sz="1400" b="1" i="0" u="sng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9B68BF3-7230-BBD3-2CAC-0999CB11598F}"/>
              </a:ext>
            </a:extLst>
          </p:cNvPr>
          <p:cNvSpPr txBox="1"/>
          <p:nvPr/>
        </p:nvSpPr>
        <p:spPr>
          <a:xfrm>
            <a:off x="9178190" y="2065706"/>
            <a:ext cx="2755902" cy="32767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28600" marR="0" lvl="0" indent="-22860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Ingres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las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aracterística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del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urs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,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incluyend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tip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de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urs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,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modalidad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y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ódig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MM o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ódig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del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urs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que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identific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nuestr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oferta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de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urs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disponible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28600" marR="0" lvl="0" indent="-22860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Seleccion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el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tipo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de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proyect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orrespondient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tu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solicitud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28600" marR="0" lvl="0" indent="-22860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Ingresa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las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fecha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del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urs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y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direcci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de l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apacitació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Helvetica Neue"/>
            </a:endParaRPr>
          </a:p>
          <a:p>
            <a:pPr marL="228600" marR="0" lvl="0" indent="-22860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Haz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lic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e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"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Siguiente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"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para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continua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con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proces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5BF4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Neue"/>
              </a:rPr>
              <a:t>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5BF45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Helvetica Neue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A15BF1-3D62-D478-0F3F-69753AE2C72F}"/>
              </a:ext>
            </a:extLst>
          </p:cNvPr>
          <p:cNvSpPr txBox="1"/>
          <p:nvPr/>
        </p:nvSpPr>
        <p:spPr>
          <a:xfrm>
            <a:off x="142754" y="6633455"/>
            <a:ext cx="2743200" cy="2272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Imágenes referenciales extraídas de Salesforce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5A9520C9-85C4-5D59-EFE9-202401F31A43}"/>
              </a:ext>
            </a:extLst>
          </p:cNvPr>
          <p:cNvSpPr/>
          <p:nvPr/>
        </p:nvSpPr>
        <p:spPr>
          <a:xfrm>
            <a:off x="7725425" y="4717625"/>
            <a:ext cx="467240" cy="186069"/>
          </a:xfrm>
          <a:prstGeom prst="roundRect">
            <a:avLst/>
          </a:prstGeom>
          <a:noFill/>
          <a:ln w="19050" cap="flat">
            <a:solidFill>
              <a:srgbClr val="FF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06082389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32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B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yyJllUE5G7GqRKta2pN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eaOiBOBsg6d6eaMFuWg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eaOiBOBsg6d6eaMFuWg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eaOiBOBsg6d6eaMFuWg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osnBjCh_DqQeOsOZtqB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osnBjCh_DqQeOsOZtqB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HWYKumfESR6aIl8XXFC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ykUUS37ZBaHucJzXwvX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8Ory_FDxtEEmyZnb.Hx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StqjvRqx0AWc1LJS7Vr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bf0DM32qTBqm61ICQa2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CR6F2YwRbul8OdClBgW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28FCiP75k2yX7qDEkX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eaOiBOBsg6d6eaMFuWg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Custom 1">
      <a:dk1>
        <a:srgbClr val="15BF45"/>
      </a:dk1>
      <a:lt1>
        <a:srgbClr val="FFFFFF"/>
      </a:lt1>
      <a:dk2>
        <a:srgbClr val="E9EADD"/>
      </a:dk2>
      <a:lt2>
        <a:srgbClr val="15BF45"/>
      </a:lt2>
      <a:accent1>
        <a:srgbClr val="014B14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algn="l" defTabSz="1218406" rtl="0" fontAlgn="auto" hangingPunct="1">
          <a:spcBef>
            <a:spcPts val="0"/>
          </a:spcBef>
          <a:buSzPct val="123000"/>
          <a:defRPr sz="1600" dirty="0">
            <a:solidFill>
              <a:schemeClr val="tx2"/>
            </a:solidFill>
            <a:latin typeface="Arial"/>
            <a:cs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2.xml><?xml version="1.0" encoding="utf-8"?>
<a:theme xmlns:a="http://schemas.openxmlformats.org/drawingml/2006/main" name="22_BasicWhite">
  <a:themeElements>
    <a:clrScheme name="Custom 1">
      <a:dk1>
        <a:srgbClr val="15BF45"/>
      </a:dk1>
      <a:lt1>
        <a:srgbClr val="FFFFFF"/>
      </a:lt1>
      <a:dk2>
        <a:srgbClr val="E9EADD"/>
      </a:dk2>
      <a:lt2>
        <a:srgbClr val="15BF45"/>
      </a:lt2>
      <a:accent1>
        <a:srgbClr val="014B14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algn="l" defTabSz="1218406" rtl="0" fontAlgn="auto" hangingPunct="1">
          <a:spcBef>
            <a:spcPts val="0"/>
          </a:spcBef>
          <a:buSzPct val="123000"/>
          <a:defRPr sz="1600" dirty="0">
            <a:solidFill>
              <a:schemeClr val="tx2"/>
            </a:solidFill>
            <a:latin typeface="Arial"/>
            <a:cs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3.xml><?xml version="1.0" encoding="utf-8"?>
<a:theme xmlns:a="http://schemas.openxmlformats.org/drawingml/2006/main" name="23_BasicWhite">
  <a:themeElements>
    <a:clrScheme name="Custom 1">
      <a:dk1>
        <a:srgbClr val="15BF45"/>
      </a:dk1>
      <a:lt1>
        <a:srgbClr val="FFFFFF"/>
      </a:lt1>
      <a:dk2>
        <a:srgbClr val="E9EADD"/>
      </a:dk2>
      <a:lt2>
        <a:srgbClr val="15BF45"/>
      </a:lt2>
      <a:accent1>
        <a:srgbClr val="014B14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algn="l" defTabSz="1218406" rtl="0" fontAlgn="auto" hangingPunct="1">
          <a:spcBef>
            <a:spcPts val="0"/>
          </a:spcBef>
          <a:buSzPct val="123000"/>
          <a:defRPr sz="1600" dirty="0">
            <a:solidFill>
              <a:schemeClr val="tx2"/>
            </a:solidFill>
            <a:latin typeface="Arial"/>
            <a:cs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4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aAchs</Template>
  <TotalTime>1</TotalTime>
  <Words>4123</Words>
  <Application>Microsoft Office PowerPoint</Application>
  <PresentationFormat>Panorámica</PresentationFormat>
  <Paragraphs>441</Paragraphs>
  <Slides>49</Slides>
  <Notes>7</Notes>
  <HiddenSlides>0</HiddenSlides>
  <MMClips>1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9</vt:i4>
      </vt:variant>
    </vt:vector>
  </HeadingPairs>
  <TitlesOfParts>
    <vt:vector size="63" baseType="lpstr">
      <vt:lpstr>.Lucida Grande UI Regular</vt:lpstr>
      <vt:lpstr>ACHS Nueva Sans Medium</vt:lpstr>
      <vt:lpstr>ACHS Nueva Serif</vt:lpstr>
      <vt:lpstr>Arial</vt:lpstr>
      <vt:lpstr>Arial MT</vt:lpstr>
      <vt:lpstr>Calibri</vt:lpstr>
      <vt:lpstr>Helvetica Neue</vt:lpstr>
      <vt:lpstr>Helvetica Neue Medium</vt:lpstr>
      <vt:lpstr>Times New Roman</vt:lpstr>
      <vt:lpstr>Wingdings</vt:lpstr>
      <vt:lpstr>21_BasicWhite</vt:lpstr>
      <vt:lpstr>22_BasicWhite</vt:lpstr>
      <vt:lpstr>23_BasicWhit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Flujo y etapas de cursos</vt:lpstr>
      <vt:lpstr>Servicio de Capacitaciones ACHS</vt:lpstr>
      <vt:lpstr>Presentación de PowerPoint</vt:lpstr>
      <vt:lpstr>Servicio de Capacitaciones ACH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Servicio de Capacitaciones ACHS</vt:lpstr>
      <vt:lpstr>Presentación de PowerPoint</vt:lpstr>
      <vt:lpstr>Presentación de PowerPoint</vt:lpstr>
      <vt:lpstr>Presentación de PowerPoint</vt:lpstr>
      <vt:lpstr>Presentación de PowerPoint</vt:lpstr>
      <vt:lpstr>Servicio de Capacitaciones ACH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oceso Solicitud de cursos cerrados</vt:lpstr>
      <vt:lpstr>Presentación de PowerPoint</vt:lpstr>
      <vt:lpstr>Presentación de PowerPoint</vt:lpstr>
      <vt:lpstr>Detalle soporte: Streaming/Presencial</vt:lpstr>
      <vt:lpstr>Presentación de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subject/>
  <dc:creator>Marketing ACHS</dc:creator>
  <cp:keywords/>
  <dc:description/>
  <cp:lastModifiedBy>Vivallo Speer, Catalina</cp:lastModifiedBy>
  <cp:revision>7</cp:revision>
  <dcterms:created xsi:type="dcterms:W3CDTF">2020-05-27T23:52:59Z</dcterms:created>
  <dcterms:modified xsi:type="dcterms:W3CDTF">2025-12-02T20:39:27Z</dcterms:modified>
  <cp:category/>
</cp:coreProperties>
</file>